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2" r:id="rId2"/>
    <p:sldMasterId id="2147483675" r:id="rId3"/>
    <p:sldMasterId id="2147483735" r:id="rId4"/>
    <p:sldMasterId id="2147483753" r:id="rId5"/>
    <p:sldMasterId id="2147483826" r:id="rId6"/>
    <p:sldMasterId id="2147483870" r:id="rId7"/>
  </p:sldMasterIdLst>
  <p:notesMasterIdLst>
    <p:notesMasterId r:id="rId32"/>
  </p:notesMasterIdLst>
  <p:sldIdLst>
    <p:sldId id="266" r:id="rId8"/>
    <p:sldId id="2147482157" r:id="rId9"/>
    <p:sldId id="262" r:id="rId10"/>
    <p:sldId id="258" r:id="rId11"/>
    <p:sldId id="4750" r:id="rId12"/>
    <p:sldId id="4752" r:id="rId13"/>
    <p:sldId id="257" r:id="rId14"/>
    <p:sldId id="278" r:id="rId15"/>
    <p:sldId id="263" r:id="rId16"/>
    <p:sldId id="275" r:id="rId17"/>
    <p:sldId id="2147482171" r:id="rId18"/>
    <p:sldId id="2147483647" r:id="rId19"/>
    <p:sldId id="267" r:id="rId20"/>
    <p:sldId id="279" r:id="rId21"/>
    <p:sldId id="259" r:id="rId22"/>
    <p:sldId id="260" r:id="rId23"/>
    <p:sldId id="2147482050" r:id="rId24"/>
    <p:sldId id="261" r:id="rId25"/>
    <p:sldId id="280" r:id="rId26"/>
    <p:sldId id="4753" r:id="rId27"/>
    <p:sldId id="272" r:id="rId28"/>
    <p:sldId id="264" r:id="rId29"/>
    <p:sldId id="2147482172" r:id="rId30"/>
    <p:sldId id="25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6A0A8"/>
    <a:srgbClr val="104862"/>
    <a:srgbClr val="206A93"/>
    <a:srgbClr val="6792A1"/>
    <a:srgbClr val="57B1B2"/>
    <a:srgbClr val="00A9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40" autoAdjust="0"/>
    <p:restoredTop sz="94660"/>
  </p:normalViewPr>
  <p:slideViewPr>
    <p:cSldViewPr snapToGrid="0">
      <p:cViewPr varScale="1">
        <p:scale>
          <a:sx n="70" d="100"/>
          <a:sy n="70" d="100"/>
        </p:scale>
        <p:origin x="5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gemmaoberth\Desktop\Prevention%202030%20Figur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gemmaoberth\Desktop\Prevention%202030%20Figure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unaids-my.sharepoint.com/personal/matturd_unaids_org/Documents/My%20Documents%20-%20OneDrive/EED/Analysis/2025/Target%20Setting%20and%20Price%20Tag/Price%20Tag%20v%2023%20April/Resource%20needs%20analysi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enediktC\AppData\Local\Microsoft\Windows\INetCache\Content.Outlook\J3H2QQ9S\Population_reached%20(5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349161968957335"/>
          <c:y val="3.4837688044338878E-2"/>
          <c:w val="0.53772409207006522"/>
          <c:h val="0.89194531206164551"/>
        </c:manualLayout>
      </c:layout>
      <c:lineChart>
        <c:grouping val="standard"/>
        <c:varyColors val="0"/>
        <c:ser>
          <c:idx val="2"/>
          <c:order val="0"/>
          <c:tx>
            <c:strRef>
              <c:f>'New HIV Infections'!$A$5</c:f>
              <c:strCache>
                <c:ptCount val="1"/>
                <c:pt idx="0">
                  <c:v>Constant treatment, reduced prevention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New HIV Infections'!$BD$2:$BJ$2</c:f>
              <c:numCache>
                <c:formatCode>General</c:formatCode>
                <c:ptCount val="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</c:numCache>
              <c:extLst/>
            </c:numRef>
          </c:cat>
          <c:val>
            <c:numRef>
              <c:f>'New HIV Infections'!$BD$5:$BJ$5</c:f>
              <c:numCache>
                <c:formatCode>#,##0</c:formatCode>
                <c:ptCount val="7"/>
                <c:pt idx="0">
                  <c:v>1303475</c:v>
                </c:pt>
                <c:pt idx="1">
                  <c:v>1260821.2767018243</c:v>
                </c:pt>
                <c:pt idx="2">
                  <c:v>1316032.9554597293</c:v>
                </c:pt>
                <c:pt idx="3">
                  <c:v>1348103.8456688079</c:v>
                </c:pt>
                <c:pt idx="4">
                  <c:v>1380067.696988123</c:v>
                </c:pt>
                <c:pt idx="5">
                  <c:v>1414130.2751102971</c:v>
                </c:pt>
                <c:pt idx="6">
                  <c:v>1421366.868621794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185E-4BF8-83F2-541693AFE8E1}"/>
            </c:ext>
          </c:extLst>
        </c:ser>
        <c:ser>
          <c:idx val="3"/>
          <c:order val="1"/>
          <c:tx>
            <c:strRef>
              <c:f>'New HIV Infections'!$A$6</c:f>
              <c:strCache>
                <c:ptCount val="1"/>
                <c:pt idx="0">
                  <c:v>Treatment targets, constant preventio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New HIV Infections'!$BD$2:$BJ$2</c:f>
              <c:numCache>
                <c:formatCode>General</c:formatCode>
                <c:ptCount val="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</c:numCache>
              <c:extLst/>
            </c:numRef>
          </c:cat>
          <c:val>
            <c:numRef>
              <c:f>'New HIV Infections'!$BD$6:$BJ$6</c:f>
              <c:numCache>
                <c:formatCode>#,##0</c:formatCode>
                <c:ptCount val="7"/>
                <c:pt idx="0">
                  <c:v>1303475</c:v>
                </c:pt>
                <c:pt idx="1">
                  <c:v>1257624.1270063943</c:v>
                </c:pt>
                <c:pt idx="2">
                  <c:v>1154267.884759956</c:v>
                </c:pt>
                <c:pt idx="3">
                  <c:v>997723.50848113769</c:v>
                </c:pt>
                <c:pt idx="4">
                  <c:v>877312.40313241445</c:v>
                </c:pt>
                <c:pt idx="5">
                  <c:v>753724.53644821618</c:v>
                </c:pt>
                <c:pt idx="6">
                  <c:v>685497.4384040933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185E-4BF8-83F2-541693AFE8E1}"/>
            </c:ext>
          </c:extLst>
        </c:ser>
        <c:ser>
          <c:idx val="1"/>
          <c:order val="2"/>
          <c:tx>
            <c:strRef>
              <c:f>'New HIV Infections'!$A$4</c:f>
              <c:strCache>
                <c:ptCount val="1"/>
                <c:pt idx="0">
                  <c:v>Targets achieved: Treatment + preventio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New HIV Infections'!$BD$2:$BJ$2</c:f>
              <c:numCache>
                <c:formatCode>General</c:formatCode>
                <c:ptCount val="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</c:numCache>
              <c:extLst/>
            </c:numRef>
          </c:cat>
          <c:val>
            <c:numRef>
              <c:f>'New HIV Infections'!$BD$4:$BJ$4</c:f>
              <c:numCache>
                <c:formatCode>#,##0</c:formatCode>
                <c:ptCount val="7"/>
                <c:pt idx="0">
                  <c:v>1303475</c:v>
                </c:pt>
                <c:pt idx="1">
                  <c:v>1261750.2213522699</c:v>
                </c:pt>
                <c:pt idx="2">
                  <c:v>950829.00631234003</c:v>
                </c:pt>
                <c:pt idx="3">
                  <c:v>726890.90620255598</c:v>
                </c:pt>
                <c:pt idx="4">
                  <c:v>562305.8704665188</c:v>
                </c:pt>
                <c:pt idx="5">
                  <c:v>417679.76485384442</c:v>
                </c:pt>
                <c:pt idx="6">
                  <c:v>366056.4374480040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185E-4BF8-83F2-541693AFE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9425248"/>
        <c:axId val="1679423808"/>
      </c:lineChart>
      <c:catAx>
        <c:axId val="1679425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9423808"/>
        <c:crosses val="autoZero"/>
        <c:auto val="1"/>
        <c:lblAlgn val="ctr"/>
        <c:lblOffset val="100"/>
        <c:noMultiLvlLbl val="0"/>
      </c:catAx>
      <c:valAx>
        <c:axId val="1679423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AT"/>
                  <a:t>Number of annual new HIV infections globally</a:t>
                </a:r>
              </a:p>
            </c:rich>
          </c:tx>
          <c:layout>
            <c:manualLayout>
              <c:xMode val="edge"/>
              <c:yMode val="edge"/>
              <c:x val="7.9030332340895015E-3"/>
              <c:y val="0.157611486212679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AT"/>
            </a:p>
          </c:txPr>
        </c:title>
        <c:numFmt formatCode="#\ ##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9425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877824293076608"/>
          <c:y val="0.24391743193620991"/>
          <c:w val="0.27779639038911569"/>
          <c:h val="0.498149752653907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291341845841582E-2"/>
          <c:y val="0.17696343548733912"/>
          <c:w val="0.88347409536924337"/>
          <c:h val="0.793819972763482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Change 2010-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FD-466A-A28D-C37642988D9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FD-466A-A28D-C37642988D9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FD-466A-A28D-C37642988D95}"/>
              </c:ext>
            </c:extLst>
          </c:dPt>
          <c:dLbls>
            <c:dLbl>
              <c:idx val="7"/>
              <c:layout>
                <c:manualLayout>
                  <c:x val="-1.2166318737485716E-16"/>
                  <c:y val="1.31697777049650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FD-466A-A28D-C37642988D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:$B$12</c:f>
              <c:strCache>
                <c:ptCount val="9"/>
                <c:pt idx="0">
                  <c:v>Eastern and southern Africa</c:v>
                </c:pt>
                <c:pt idx="1">
                  <c:v>West and central Africa</c:v>
                </c:pt>
                <c:pt idx="2">
                  <c:v>Caribbean</c:v>
                </c:pt>
                <c:pt idx="3">
                  <c:v>Asia Pacific</c:v>
                </c:pt>
                <c:pt idx="4">
                  <c:v>Western Europe and North America</c:v>
                </c:pt>
                <c:pt idx="5">
                  <c:v>Eastern Europe and central Asia</c:v>
                </c:pt>
                <c:pt idx="6">
                  <c:v>Latin America</c:v>
                </c:pt>
                <c:pt idx="7">
                  <c:v>Middle East and North Africa</c:v>
                </c:pt>
                <c:pt idx="8">
                  <c:v>Global</c:v>
                </c:pt>
              </c:strCache>
            </c:strRef>
          </c:cat>
          <c:val>
            <c:numRef>
              <c:f>Sheet1!$C$4:$C$12</c:f>
              <c:numCache>
                <c:formatCode>0%</c:formatCode>
                <c:ptCount val="9"/>
                <c:pt idx="0">
                  <c:v>-0.56000000000000005</c:v>
                </c:pt>
                <c:pt idx="1">
                  <c:v>-0.55000000000000004</c:v>
                </c:pt>
                <c:pt idx="2">
                  <c:v>-0.21</c:v>
                </c:pt>
                <c:pt idx="3">
                  <c:v>-0.17</c:v>
                </c:pt>
                <c:pt idx="4">
                  <c:v>-0.14000000000000001</c:v>
                </c:pt>
                <c:pt idx="5">
                  <c:v>7.0000000000000007E-2</c:v>
                </c:pt>
                <c:pt idx="6">
                  <c:v>0.13</c:v>
                </c:pt>
                <c:pt idx="7">
                  <c:v>0.94</c:v>
                </c:pt>
                <c:pt idx="8">
                  <c:v>-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FD-466A-A28D-C37642988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85249935"/>
        <c:axId val="653828336"/>
      </c:barChart>
      <c:lineChart>
        <c:grouping val="standard"/>
        <c:varyColors val="0"/>
        <c:ser>
          <c:idx val="1"/>
          <c:order val="1"/>
          <c:tx>
            <c:strRef>
              <c:f>Sheet1!$D$3</c:f>
              <c:strCache>
                <c:ptCount val="1"/>
                <c:pt idx="0">
                  <c:v>2030 target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B$4:$B$12</c:f>
              <c:strCache>
                <c:ptCount val="9"/>
                <c:pt idx="0">
                  <c:v>Eastern and southern Africa</c:v>
                </c:pt>
                <c:pt idx="1">
                  <c:v>West and central Africa</c:v>
                </c:pt>
                <c:pt idx="2">
                  <c:v>Caribbean</c:v>
                </c:pt>
                <c:pt idx="3">
                  <c:v>Asia Pacific</c:v>
                </c:pt>
                <c:pt idx="4">
                  <c:v>Western Europe and North America</c:v>
                </c:pt>
                <c:pt idx="5">
                  <c:v>Eastern Europe and central Asia</c:v>
                </c:pt>
                <c:pt idx="6">
                  <c:v>Latin America</c:v>
                </c:pt>
                <c:pt idx="7">
                  <c:v>Middle East and North Africa</c:v>
                </c:pt>
                <c:pt idx="8">
                  <c:v>Global</c:v>
                </c:pt>
              </c:strCache>
            </c:strRef>
          </c:cat>
          <c:val>
            <c:numRef>
              <c:f>Sheet1!$D$4:$D$12</c:f>
              <c:numCache>
                <c:formatCode>0%</c:formatCode>
                <c:ptCount val="9"/>
                <c:pt idx="0">
                  <c:v>-0.9</c:v>
                </c:pt>
                <c:pt idx="1">
                  <c:v>-0.9</c:v>
                </c:pt>
                <c:pt idx="2">
                  <c:v>-0.9</c:v>
                </c:pt>
                <c:pt idx="3">
                  <c:v>-0.9</c:v>
                </c:pt>
                <c:pt idx="4">
                  <c:v>-0.9</c:v>
                </c:pt>
                <c:pt idx="5">
                  <c:v>-0.9</c:v>
                </c:pt>
                <c:pt idx="6">
                  <c:v>-0.9</c:v>
                </c:pt>
                <c:pt idx="7">
                  <c:v>-0.9</c:v>
                </c:pt>
                <c:pt idx="8">
                  <c:v>-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2FD-466A-A28D-C37642988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5249935"/>
        <c:axId val="653828336"/>
      </c:lineChart>
      <c:catAx>
        <c:axId val="285249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653828336"/>
        <c:crosses val="autoZero"/>
        <c:auto val="1"/>
        <c:lblAlgn val="ctr"/>
        <c:lblOffset val="100"/>
        <c:noMultiLvlLbl val="0"/>
      </c:catAx>
      <c:valAx>
        <c:axId val="6538283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/>
                  <a:t>Change in the number of new HIV infections between 2010 and 2024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CH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852499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/>
              <a:t>202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651617783584911"/>
          <c:y val="0.14134076990376204"/>
          <c:w val="0.65570161262593263"/>
          <c:h val="0.69516513560804893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57B1B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2E-4FD8-B709-CE1E35F97383}"/>
              </c:ext>
            </c:extLst>
          </c:dPt>
          <c:dPt>
            <c:idx val="1"/>
            <c:bubble3D val="0"/>
            <c:spPr>
              <a:solidFill>
                <a:srgbClr val="C7945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2E-4FD8-B709-CE1E35F97383}"/>
              </c:ext>
            </c:extLst>
          </c:dPt>
          <c:dLbls>
            <c:dLbl>
              <c:idx val="0"/>
              <c:layout>
                <c:manualLayout>
                  <c:x val="8.7336244541483914E-3"/>
                  <c:y val="2.777777777777777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50" b="0" i="0" u="none" strike="noStrike" kern="1200" baseline="0">
                        <a:solidFill>
                          <a:sysClr val="windowText" lastClr="000000">
                            <a:lumMod val="75000"/>
                            <a:lumOff val="25000"/>
                          </a:sys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5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US$ 9.5 billion (33%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050" b="0" i="0" u="none" strike="noStrike" kern="1200" baseline="0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82E-4FD8-B709-CE1E35F9738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82E-4FD8-B709-CE1E35F973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F$28:$F$29</c:f>
              <c:strCache>
                <c:ptCount val="2"/>
                <c:pt idx="0">
                  <c:v>Primary Prevention</c:v>
                </c:pt>
                <c:pt idx="1">
                  <c:v>Remaining Interventions</c:v>
                </c:pt>
              </c:strCache>
            </c:strRef>
          </c:cat>
          <c:val>
            <c:numRef>
              <c:f>Sheet2!$G$28:$G$29</c:f>
              <c:numCache>
                <c:formatCode>0.00%</c:formatCode>
                <c:ptCount val="2"/>
                <c:pt idx="0">
                  <c:v>0.32400000000000001</c:v>
                </c:pt>
                <c:pt idx="1">
                  <c:v>0.68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2E-4FD8-B709-CE1E35F973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710586940824537"/>
          <c:y val="0.86346209486916825"/>
          <c:w val="0.60578826118350926"/>
          <c:h val="0.10968395152050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/>
              <a:t>203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941939841427576"/>
          <c:y val="0.14393518518518519"/>
          <c:w val="0.61586112271507221"/>
          <c:h val="0.68217725332596368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57B1B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7E-4A78-A388-CFA2CCA8C665}"/>
              </c:ext>
            </c:extLst>
          </c:dPt>
          <c:dPt>
            <c:idx val="1"/>
            <c:bubble3D val="0"/>
            <c:spPr>
              <a:solidFill>
                <a:srgbClr val="C7945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7E-4A78-A388-CFA2CCA8C665}"/>
              </c:ext>
            </c:extLst>
          </c:dPt>
          <c:dLbls>
            <c:dLbl>
              <c:idx val="0"/>
              <c:layout>
                <c:manualLayout>
                  <c:x val="1.2658227848101189E-2"/>
                  <c:y val="1.85185185185185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9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US </a:t>
                    </a:r>
                    <a:r>
                      <a:rPr lang="en-US" sz="9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$ 5.2 billion (24%)</a:t>
                    </a:r>
                    <a:endParaRPr lang="en-US" sz="9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29113924050632"/>
                      <c:h val="0.205162219305920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ED7E-4A78-A388-CFA2CCA8C66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7E-4A78-A388-CFA2CCA8C6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I$28:$I$29</c:f>
              <c:strCache>
                <c:ptCount val="2"/>
                <c:pt idx="0">
                  <c:v>Primary Prevention</c:v>
                </c:pt>
                <c:pt idx="1">
                  <c:v>Remaining Interventions</c:v>
                </c:pt>
              </c:strCache>
            </c:strRef>
          </c:cat>
          <c:val>
            <c:numRef>
              <c:f>Sheet2!$J$28:$J$29</c:f>
              <c:numCache>
                <c:formatCode>0.00%</c:formatCode>
                <c:ptCount val="2"/>
                <c:pt idx="0">
                  <c:v>0.23699999999999999</c:v>
                </c:pt>
                <c:pt idx="1">
                  <c:v>0.76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7E-4A78-A388-CFA2CCA8C6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doughnutChart>
        <c:varyColors val="1"/>
        <c:ser>
          <c:idx val="2"/>
          <c:order val="2"/>
          <c:tx>
            <c:strRef>
              <c:f>'Countries in 2030 select interv'!$F$2</c:f>
              <c:strCache>
                <c:ptCount val="1"/>
                <c:pt idx="0">
                  <c:v>% of Total</c:v>
                </c:pt>
              </c:strCache>
            </c:strRef>
          </c:tx>
          <c:dPt>
            <c:idx val="0"/>
            <c:bubble3D val="0"/>
            <c:spPr>
              <a:solidFill>
                <a:srgbClr val="226B9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21D-4141-9AE5-33FBE4330C71}"/>
              </c:ext>
            </c:extLst>
          </c:dPt>
          <c:dPt>
            <c:idx val="1"/>
            <c:bubble3D val="0"/>
            <c:spPr>
              <a:solidFill>
                <a:srgbClr val="5B8B9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21D-4141-9AE5-33FBE4330C71}"/>
              </c:ext>
            </c:extLst>
          </c:dPt>
          <c:dPt>
            <c:idx val="2"/>
            <c:bubble3D val="0"/>
            <c:spPr>
              <a:solidFill>
                <a:srgbClr val="57B1B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21D-4141-9AE5-33FBE4330C71}"/>
              </c:ext>
            </c:extLst>
          </c:dPt>
          <c:dPt>
            <c:idx val="3"/>
            <c:bubble3D val="0"/>
            <c:spPr>
              <a:solidFill>
                <a:srgbClr val="C7945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21D-4141-9AE5-33FBE4330C71}"/>
              </c:ext>
            </c:extLst>
          </c:dPt>
          <c:dPt>
            <c:idx val="4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21D-4141-9AE5-33FBE4330C71}"/>
              </c:ext>
            </c:extLst>
          </c:dPt>
          <c:dPt>
            <c:idx val="5"/>
            <c:bubble3D val="0"/>
            <c:spPr>
              <a:solidFill>
                <a:schemeClr val="bg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21D-4141-9AE5-33FBE4330C71}"/>
              </c:ext>
            </c:extLst>
          </c:dPt>
          <c:dPt>
            <c:idx val="6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21D-4141-9AE5-33FBE4330C71}"/>
              </c:ext>
            </c:extLst>
          </c:dPt>
          <c:dPt>
            <c:idx val="7"/>
            <c:bubble3D val="0"/>
            <c:spPr>
              <a:solidFill>
                <a:schemeClr val="tx2">
                  <a:lumMod val="10000"/>
                  <a:lumOff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21D-4141-9AE5-33FBE4330C71}"/>
              </c:ext>
            </c:extLst>
          </c:dPt>
          <c:dPt>
            <c:idx val="8"/>
            <c:bubble3D val="0"/>
            <c:spPr>
              <a:solidFill>
                <a:schemeClr val="tx2">
                  <a:lumMod val="25000"/>
                  <a:lumOff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21D-4141-9AE5-33FBE4330C71}"/>
              </c:ext>
            </c:extLst>
          </c:dPt>
          <c:dPt>
            <c:idx val="9"/>
            <c:bubble3D val="0"/>
            <c:spPr>
              <a:solidFill>
                <a:schemeClr val="tx2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D21D-4141-9AE5-33FBE4330C71}"/>
              </c:ext>
            </c:extLst>
          </c:dPt>
          <c:dPt>
            <c:idx val="10"/>
            <c:bubble3D val="0"/>
            <c:spPr>
              <a:solidFill>
                <a:schemeClr val="accent4">
                  <a:shade val="8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D21D-4141-9AE5-33FBE4330C71}"/>
              </c:ext>
            </c:extLst>
          </c:dPt>
          <c:dPt>
            <c:idx val="11"/>
            <c:bubble3D val="0"/>
            <c:spPr>
              <a:solidFill>
                <a:schemeClr val="accent4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D21D-4141-9AE5-33FBE4330C71}"/>
              </c:ext>
            </c:extLst>
          </c:dPt>
          <c:dPt>
            <c:idx val="12"/>
            <c:bubble3D val="0"/>
            <c:spPr>
              <a:solidFill>
                <a:schemeClr val="accent4">
                  <a:shade val="9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D21D-4141-9AE5-33FBE4330C71}"/>
              </c:ext>
            </c:extLst>
          </c:dPt>
          <c:dPt>
            <c:idx val="13"/>
            <c:bubble3D val="0"/>
            <c:spPr>
              <a:solidFill>
                <a:schemeClr val="accent4">
                  <a:tint val="9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D21D-4141-9AE5-33FBE4330C71}"/>
              </c:ext>
            </c:extLst>
          </c:dPt>
          <c:dPt>
            <c:idx val="14"/>
            <c:bubble3D val="0"/>
            <c:spPr>
              <a:solidFill>
                <a:schemeClr val="accent4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D21D-4141-9AE5-33FBE4330C71}"/>
              </c:ext>
            </c:extLst>
          </c:dPt>
          <c:dPt>
            <c:idx val="15"/>
            <c:bubble3D val="0"/>
            <c:spPr>
              <a:solidFill>
                <a:schemeClr val="accent4">
                  <a:tint val="8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D21D-4141-9AE5-33FBE4330C71}"/>
              </c:ext>
            </c:extLst>
          </c:dPt>
          <c:dPt>
            <c:idx val="16"/>
            <c:bubble3D val="0"/>
            <c:spPr>
              <a:solidFill>
                <a:schemeClr val="accent4">
                  <a:tint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D21D-4141-9AE5-33FBE4330C71}"/>
              </c:ext>
            </c:extLst>
          </c:dPt>
          <c:dPt>
            <c:idx val="17"/>
            <c:bubble3D val="0"/>
            <c:spPr>
              <a:solidFill>
                <a:schemeClr val="accent4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D21D-4141-9AE5-33FBE4330C71}"/>
              </c:ext>
            </c:extLst>
          </c:dPt>
          <c:dPt>
            <c:idx val="18"/>
            <c:bubble3D val="0"/>
            <c:spPr>
              <a:solidFill>
                <a:schemeClr val="accent4">
                  <a:tint val="7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D21D-4141-9AE5-33FBE4330C71}"/>
              </c:ext>
            </c:extLst>
          </c:dPt>
          <c:dPt>
            <c:idx val="19"/>
            <c:bubble3D val="0"/>
            <c:spPr>
              <a:solidFill>
                <a:schemeClr val="accent4">
                  <a:tint val="6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D21D-4141-9AE5-33FBE4330C71}"/>
              </c:ext>
            </c:extLst>
          </c:dPt>
          <c:dPt>
            <c:idx val="20"/>
            <c:bubble3D val="0"/>
            <c:spPr>
              <a:solidFill>
                <a:schemeClr val="accent4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D21D-4141-9AE5-33FBE4330C71}"/>
              </c:ext>
            </c:extLst>
          </c:dPt>
          <c:dPt>
            <c:idx val="21"/>
            <c:bubble3D val="0"/>
            <c:spPr>
              <a:solidFill>
                <a:schemeClr val="accent4">
                  <a:tint val="5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D21D-4141-9AE5-33FBE4330C71}"/>
              </c:ext>
            </c:extLst>
          </c:dPt>
          <c:dPt>
            <c:idx val="22"/>
            <c:bubble3D val="0"/>
            <c:spPr>
              <a:solidFill>
                <a:schemeClr val="accent4">
                  <a:tint val="5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D21D-4141-9AE5-33FBE4330C71}"/>
              </c:ext>
            </c:extLst>
          </c:dPt>
          <c:dPt>
            <c:idx val="23"/>
            <c:bubble3D val="0"/>
            <c:spPr>
              <a:solidFill>
                <a:schemeClr val="accent4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D21D-4141-9AE5-33FBE4330C71}"/>
              </c:ext>
            </c:extLst>
          </c:dPt>
          <c:dPt>
            <c:idx val="24"/>
            <c:bubble3D val="0"/>
            <c:spPr>
              <a:solidFill>
                <a:schemeClr val="accent4">
                  <a:tint val="4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D21D-4141-9AE5-33FBE4330C71}"/>
              </c:ext>
            </c:extLst>
          </c:dPt>
          <c:dPt>
            <c:idx val="25"/>
            <c:bubble3D val="0"/>
            <c:spPr>
              <a:solidFill>
                <a:schemeClr val="accent4">
                  <a:tint val="3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D21D-4141-9AE5-33FBE4330C71}"/>
              </c:ext>
            </c:extLst>
          </c:dPt>
          <c:dLbls>
            <c:dLbl>
              <c:idx val="0"/>
              <c:layout>
                <c:manualLayout>
                  <c:x val="0.14924275564039344"/>
                  <c:y val="-0.1059673693132108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1D-4141-9AE5-33FBE4330C71}"/>
                </c:ext>
              </c:extLst>
            </c:dLbl>
            <c:dLbl>
              <c:idx val="1"/>
              <c:layout>
                <c:manualLayout>
                  <c:x val="0.16026075661112626"/>
                  <c:y val="-5.518665749305611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1D-4141-9AE5-33FBE4330C71}"/>
                </c:ext>
              </c:extLst>
            </c:dLbl>
            <c:dLbl>
              <c:idx val="2"/>
              <c:layout>
                <c:manualLayout>
                  <c:x val="0.12609456099203845"/>
                  <c:y val="1.916167423745583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1D-4141-9AE5-33FBE4330C71}"/>
                </c:ext>
              </c:extLst>
            </c:dLbl>
            <c:dLbl>
              <c:idx val="3"/>
              <c:layout>
                <c:manualLayout>
                  <c:x val="0.10618503135173261"/>
                  <c:y val="4.828784751420635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21D-4141-9AE5-33FBE4330C71}"/>
                </c:ext>
              </c:extLst>
            </c:dLbl>
            <c:dLbl>
              <c:idx val="4"/>
              <c:layout>
                <c:manualLayout>
                  <c:x val="0.13202880189874433"/>
                  <c:y val="0.11590806003618467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Pakistan, </a:t>
                    </a:r>
                    <a:fld id="{D769CCFE-6820-A246-B361-3A89E8835FF1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21D-4141-9AE5-33FBE4330C71}"/>
                </c:ext>
              </c:extLst>
            </c:dLbl>
            <c:dLbl>
              <c:idx val="5"/>
              <c:layout>
                <c:manualLayout>
                  <c:x val="0.16293279022403259"/>
                  <c:y val="0.10032362459546926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Russian</a:t>
                    </a:r>
                    <a:r>
                      <a:rPr lang="en-US" baseline="0"/>
                      <a:t> Federation, </a:t>
                    </a:r>
                    <a:fld id="{BD72ECAF-E198-B043-8DB9-1B33FDB52C03}" type="VALUE">
                      <a:rPr lang="en-US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21D-4141-9AE5-33FBE4330C71}"/>
                </c:ext>
              </c:extLst>
            </c:dLbl>
            <c:dLbl>
              <c:idx val="6"/>
              <c:layout>
                <c:manualLayout>
                  <c:x val="0.12170486072133033"/>
                  <c:y val="0.112629003898784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21D-4141-9AE5-33FBE4330C71}"/>
                </c:ext>
              </c:extLst>
            </c:dLbl>
            <c:dLbl>
              <c:idx val="7"/>
              <c:layout>
                <c:manualLayout>
                  <c:x val="3.2926375547252112E-2"/>
                  <c:y val="0.1240249216420761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21D-4141-9AE5-33FBE4330C71}"/>
                </c:ext>
              </c:extLst>
            </c:dLbl>
            <c:dLbl>
              <c:idx val="8"/>
              <c:layout>
                <c:manualLayout>
                  <c:x val="-6.4821591802043069E-2"/>
                  <c:y val="0.1349843284152586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21D-4141-9AE5-33FBE4330C71}"/>
                </c:ext>
              </c:extLst>
            </c:dLbl>
            <c:dLbl>
              <c:idx val="9"/>
              <c:layout>
                <c:manualLayout>
                  <c:x val="-0.14414323973250798"/>
                  <c:y val="0.108923884514435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D21D-4141-9AE5-33FBE4330C71}"/>
                </c:ext>
              </c:extLst>
            </c:dLbl>
            <c:dLbl>
              <c:idx val="10"/>
              <c:layout>
                <c:manualLayout>
                  <c:x val="-0.11858075276232023"/>
                  <c:y val="8.328975868307711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21D-4141-9AE5-33FBE4330C71}"/>
                </c:ext>
              </c:extLst>
            </c:dLbl>
            <c:dLbl>
              <c:idx val="11"/>
              <c:layout>
                <c:manualLayout>
                  <c:x val="-0.11405038728611065"/>
                  <c:y val="5.135361720561616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D21D-4141-9AE5-33FBE4330C71}"/>
                </c:ext>
              </c:extLst>
            </c:dLbl>
            <c:dLbl>
              <c:idx val="12"/>
              <c:layout>
                <c:manualLayout>
                  <c:x val="-0.17728979906024986"/>
                  <c:y val="1.916163392197334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21D-4141-9AE5-33FBE4330C71}"/>
                </c:ext>
              </c:extLst>
            </c:dLbl>
            <c:dLbl>
              <c:idx val="13"/>
              <c:layout>
                <c:manualLayout>
                  <c:x val="-0.19305819715509084"/>
                  <c:y val="-3.2363733659506156E-3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Papua New Guinea, </a:t>
                    </a:r>
                    <a:fld id="{9156066F-0AD6-1F4E-AEB0-3EF24158D8B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914460285132384"/>
                      <c:h val="7.433656957928801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B-D21D-4141-9AE5-33FBE4330C7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D21D-4141-9AE5-33FBE4330C71}"/>
                </c:ext>
              </c:extLst>
            </c:dLbl>
            <c:dLbl>
              <c:idx val="15"/>
              <c:layout>
                <c:manualLayout>
                  <c:x val="-0.20215159778088701"/>
                  <c:y val="-1.596806186454663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D21D-4141-9AE5-33FBE4330C71}"/>
                </c:ext>
              </c:extLst>
            </c:dLbl>
            <c:dLbl>
              <c:idx val="16"/>
              <c:layout>
                <c:manualLayout>
                  <c:x val="-0.20597879949324052"/>
                  <c:y val="-5.131106184542472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D21D-4141-9AE5-33FBE4330C7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D21D-4141-9AE5-33FBE4330C71}"/>
                </c:ext>
              </c:extLst>
            </c:dLbl>
            <c:dLbl>
              <c:idx val="18"/>
              <c:layout>
                <c:manualLayout>
                  <c:x val="-0.17413057074586655"/>
                  <c:y val="-5.458986316030884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D21D-4141-9AE5-33FBE4330C71}"/>
                </c:ext>
              </c:extLst>
            </c:dLbl>
            <c:dLbl>
              <c:idx val="19"/>
              <c:layout>
                <c:manualLayout>
                  <c:x val="-0.21015760165339739"/>
                  <c:y val="-9.580837118727952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D21D-4141-9AE5-33FBE4330C71}"/>
                </c:ext>
              </c:extLst>
            </c:dLbl>
            <c:dLbl>
              <c:idx val="20"/>
              <c:layout>
                <c:manualLayout>
                  <c:x val="-0.15611707551395237"/>
                  <c:y val="-0.1021955959330981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D21D-4141-9AE5-33FBE4330C7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D21D-4141-9AE5-33FBE4330C7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D21D-4141-9AE5-33FBE4330C7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D21D-4141-9AE5-33FBE4330C71}"/>
                </c:ext>
              </c:extLst>
            </c:dLbl>
            <c:dLbl>
              <c:idx val="24"/>
              <c:layout>
                <c:manualLayout>
                  <c:x val="-0.11812627291242363"/>
                  <c:y val="-6.7961165048543742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Nigeria, </a:t>
                    </a:r>
                    <a:fld id="{5FB362A2-4B20-4346-A8F6-99FC5FEC20A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1-D21D-4141-9AE5-33FBE4330C71}"/>
                </c:ext>
              </c:extLst>
            </c:dLbl>
            <c:dLbl>
              <c:idx val="25"/>
              <c:layout>
                <c:manualLayout>
                  <c:x val="-0.12627291242362526"/>
                  <c:y val="-6.7961165048543701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Others, </a:t>
                    </a:r>
                    <a:fld id="{9454C7A5-A4CC-FE49-8E68-5C1B00C1D973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3-D21D-4141-9AE5-33FBE4330C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CH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ountries in 2030 select interv'!$C$3:$C$28</c:f>
              <c:strCache>
                <c:ptCount val="26"/>
                <c:pt idx="0">
                  <c:v>South Africa</c:v>
                </c:pt>
                <c:pt idx="1">
                  <c:v>India</c:v>
                </c:pt>
                <c:pt idx="2">
                  <c:v>China</c:v>
                </c:pt>
                <c:pt idx="3">
                  <c:v>Brazil</c:v>
                </c:pt>
                <c:pt idx="4">
                  <c:v>Pakistan  </c:v>
                </c:pt>
                <c:pt idx="5">
                  <c:v>Russian Federation</c:v>
                </c:pt>
                <c:pt idx="6">
                  <c:v>Indonesia</c:v>
                </c:pt>
                <c:pt idx="7">
                  <c:v>Philippines</c:v>
                </c:pt>
                <c:pt idx="8">
                  <c:v>Mozambique</c:v>
                </c:pt>
                <c:pt idx="9">
                  <c:v>Ukraine</c:v>
                </c:pt>
                <c:pt idx="10">
                  <c:v>Tanzania</c:v>
                </c:pt>
                <c:pt idx="11">
                  <c:v>Mexico</c:v>
                </c:pt>
                <c:pt idx="12">
                  <c:v>Ethiopia</c:v>
                </c:pt>
                <c:pt idx="13">
                  <c:v>Papua New Guinea  </c:v>
                </c:pt>
                <c:pt idx="14">
                  <c:v>Madagascar</c:v>
                </c:pt>
                <c:pt idx="15">
                  <c:v>Bangladesh</c:v>
                </c:pt>
                <c:pt idx="16">
                  <c:v>Kenya</c:v>
                </c:pt>
                <c:pt idx="17">
                  <c:v>Afghanistan</c:v>
                </c:pt>
                <c:pt idx="18">
                  <c:v>Uganda</c:v>
                </c:pt>
                <c:pt idx="20">
                  <c:v>Colombia</c:v>
                </c:pt>
                <c:pt idx="21">
                  <c:v>Thailand</c:v>
                </c:pt>
                <c:pt idx="22">
                  <c:v>Myanmar</c:v>
                </c:pt>
                <c:pt idx="23">
                  <c:v>Turkey</c:v>
                </c:pt>
                <c:pt idx="24">
                  <c:v>Nigeria  </c:v>
                </c:pt>
                <c:pt idx="25">
                  <c:v>Others </c:v>
                </c:pt>
              </c:strCache>
            </c:strRef>
          </c:cat>
          <c:val>
            <c:numRef>
              <c:f>'Countries in 2030 select interv'!$F$3:$F$28</c:f>
              <c:numCache>
                <c:formatCode>0%</c:formatCode>
                <c:ptCount val="26"/>
                <c:pt idx="0">
                  <c:v>0.11514771230477798</c:v>
                </c:pt>
                <c:pt idx="1">
                  <c:v>9.7131828905870327E-2</c:v>
                </c:pt>
                <c:pt idx="2">
                  <c:v>6.3239545782770495E-2</c:v>
                </c:pt>
                <c:pt idx="3">
                  <c:v>5.780027557710999E-2</c:v>
                </c:pt>
                <c:pt idx="4">
                  <c:v>5.4212922806591679E-2</c:v>
                </c:pt>
                <c:pt idx="5">
                  <c:v>5.2286251739916016E-2</c:v>
                </c:pt>
                <c:pt idx="6">
                  <c:v>4.4544444257351219E-2</c:v>
                </c:pt>
                <c:pt idx="7">
                  <c:v>4.1247012941842021E-2</c:v>
                </c:pt>
                <c:pt idx="8">
                  <c:v>3.3698623141221976E-2</c:v>
                </c:pt>
                <c:pt idx="9">
                  <c:v>2.3825902877457276E-2</c:v>
                </c:pt>
                <c:pt idx="10">
                  <c:v>2.374399808712931E-2</c:v>
                </c:pt>
                <c:pt idx="11">
                  <c:v>2.0633777759608701E-2</c:v>
                </c:pt>
                <c:pt idx="12">
                  <c:v>1.7893524688880016E-2</c:v>
                </c:pt>
                <c:pt idx="13">
                  <c:v>1.7450786810824147E-2</c:v>
                </c:pt>
                <c:pt idx="14">
                  <c:v>1.5272848645499184E-2</c:v>
                </c:pt>
                <c:pt idx="15">
                  <c:v>1.5270850861741963E-2</c:v>
                </c:pt>
                <c:pt idx="16">
                  <c:v>1.4516889492006333E-2</c:v>
                </c:pt>
                <c:pt idx="17">
                  <c:v>1.4436163975520814E-2</c:v>
                </c:pt>
                <c:pt idx="18">
                  <c:v>1.4133521827025042E-2</c:v>
                </c:pt>
                <c:pt idx="20">
                  <c:v>1.3976275041877718E-2</c:v>
                </c:pt>
                <c:pt idx="21">
                  <c:v>1.3279874251519948E-2</c:v>
                </c:pt>
                <c:pt idx="22">
                  <c:v>1.1063567989027443E-2</c:v>
                </c:pt>
                <c:pt idx="23">
                  <c:v>1.0869268912491667E-2</c:v>
                </c:pt>
                <c:pt idx="24">
                  <c:v>1.0683454478762348E-2</c:v>
                </c:pt>
                <c:pt idx="25">
                  <c:v>0.203640676843176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4-D21D-4141-9AE5-33FBE4330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Countries in 2030 select interv'!$D$2</c15:sqref>
                        </c15:formulaRef>
                      </c:ext>
                    </c:extLst>
                    <c:strCache>
                      <c:ptCount val="1"/>
                      <c:pt idx="0">
                        <c:v>ISO_A3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4">
                        <a:shade val="3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6-D21D-4141-9AE5-33FBE4330C71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4">
                        <a:shade val="4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8-D21D-4141-9AE5-33FBE4330C71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4">
                        <a:shade val="4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A-D21D-4141-9AE5-33FBE4330C71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>
                        <a:shade val="5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C-D21D-4141-9AE5-33FBE4330C71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4">
                        <a:shade val="5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E-D21D-4141-9AE5-33FBE4330C71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4">
                        <a:shade val="6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0-D21D-4141-9AE5-33FBE4330C71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4">
                        <a:shade val="6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2-D21D-4141-9AE5-33FBE4330C71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4">
                        <a:shade val="7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4-D21D-4141-9AE5-33FBE4330C71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4">
                        <a:shade val="7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6-D21D-4141-9AE5-33FBE4330C71}"/>
                    </c:ext>
                  </c:extLst>
                </c:dPt>
                <c:dPt>
                  <c:idx val="9"/>
                  <c:bubble3D val="0"/>
                  <c:spPr>
                    <a:solidFill>
                      <a:schemeClr val="accent4">
                        <a:shade val="8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8-D21D-4141-9AE5-33FBE4330C71}"/>
                    </c:ext>
                  </c:extLst>
                </c:dPt>
                <c:dPt>
                  <c:idx val="10"/>
                  <c:bubble3D val="0"/>
                  <c:spPr>
                    <a:solidFill>
                      <a:schemeClr val="accent4">
                        <a:shade val="8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A-D21D-4141-9AE5-33FBE4330C71}"/>
                    </c:ext>
                  </c:extLst>
                </c:dPt>
                <c:dPt>
                  <c:idx val="11"/>
                  <c:bubble3D val="0"/>
                  <c:spPr>
                    <a:solidFill>
                      <a:schemeClr val="accent4">
                        <a:shade val="9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C-D21D-4141-9AE5-33FBE4330C71}"/>
                    </c:ext>
                  </c:extLst>
                </c:dPt>
                <c:dPt>
                  <c:idx val="12"/>
                  <c:bubble3D val="0"/>
                  <c:spPr>
                    <a:solidFill>
                      <a:schemeClr val="accent4">
                        <a:shade val="9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4E-D21D-4141-9AE5-33FBE4330C71}"/>
                    </c:ext>
                  </c:extLst>
                </c:dPt>
                <c:dPt>
                  <c:idx val="13"/>
                  <c:bubble3D val="0"/>
                  <c:spPr>
                    <a:solidFill>
                      <a:schemeClr val="accent4">
                        <a:tint val="9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0-D21D-4141-9AE5-33FBE4330C71}"/>
                    </c:ext>
                  </c:extLst>
                </c:dPt>
                <c:dPt>
                  <c:idx val="14"/>
                  <c:bubble3D val="0"/>
                  <c:spPr>
                    <a:solidFill>
                      <a:schemeClr val="accent4">
                        <a:tint val="93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2-D21D-4141-9AE5-33FBE4330C71}"/>
                    </c:ext>
                  </c:extLst>
                </c:dPt>
                <c:dPt>
                  <c:idx val="15"/>
                  <c:bubble3D val="0"/>
                  <c:spPr>
                    <a:solidFill>
                      <a:schemeClr val="accent4">
                        <a:tint val="8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4-D21D-4141-9AE5-33FBE4330C71}"/>
                    </c:ext>
                  </c:extLst>
                </c:dPt>
                <c:dPt>
                  <c:idx val="16"/>
                  <c:bubble3D val="0"/>
                  <c:spPr>
                    <a:solidFill>
                      <a:schemeClr val="accent4">
                        <a:tint val="8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6-D21D-4141-9AE5-33FBE4330C71}"/>
                    </c:ext>
                  </c:extLst>
                </c:dPt>
                <c:dPt>
                  <c:idx val="17"/>
                  <c:bubble3D val="0"/>
                  <c:spPr>
                    <a:solidFill>
                      <a:schemeClr val="accent4">
                        <a:tint val="7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8-D21D-4141-9AE5-33FBE4330C71}"/>
                    </c:ext>
                  </c:extLst>
                </c:dPt>
                <c:dPt>
                  <c:idx val="18"/>
                  <c:bubble3D val="0"/>
                  <c:spPr>
                    <a:solidFill>
                      <a:schemeClr val="accent4">
                        <a:tint val="7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A-D21D-4141-9AE5-33FBE4330C71}"/>
                    </c:ext>
                  </c:extLst>
                </c:dPt>
                <c:dPt>
                  <c:idx val="19"/>
                  <c:bubble3D val="0"/>
                  <c:spPr>
                    <a:solidFill>
                      <a:schemeClr val="accent4">
                        <a:tint val="6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C-D21D-4141-9AE5-33FBE4330C71}"/>
                    </c:ext>
                  </c:extLst>
                </c:dPt>
                <c:dPt>
                  <c:idx val="20"/>
                  <c:bubble3D val="0"/>
                  <c:spPr>
                    <a:solidFill>
                      <a:schemeClr val="accent4">
                        <a:tint val="6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5E-D21D-4141-9AE5-33FBE4330C71}"/>
                    </c:ext>
                  </c:extLst>
                </c:dPt>
                <c:dPt>
                  <c:idx val="21"/>
                  <c:bubble3D val="0"/>
                  <c:spPr>
                    <a:solidFill>
                      <a:schemeClr val="accent4">
                        <a:tint val="5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0-D21D-4141-9AE5-33FBE4330C71}"/>
                    </c:ext>
                  </c:extLst>
                </c:dPt>
                <c:dPt>
                  <c:idx val="22"/>
                  <c:bubble3D val="0"/>
                  <c:spPr>
                    <a:solidFill>
                      <a:schemeClr val="accent4">
                        <a:tint val="5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2-D21D-4141-9AE5-33FBE4330C71}"/>
                    </c:ext>
                  </c:extLst>
                </c:dPt>
                <c:dPt>
                  <c:idx val="23"/>
                  <c:bubble3D val="0"/>
                  <c:spPr>
                    <a:solidFill>
                      <a:schemeClr val="accent4">
                        <a:tint val="4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4-D21D-4141-9AE5-33FBE4330C71}"/>
                    </c:ext>
                  </c:extLst>
                </c:dPt>
                <c:dPt>
                  <c:idx val="24"/>
                  <c:bubble3D val="0"/>
                  <c:spPr>
                    <a:solidFill>
                      <a:schemeClr val="accent4">
                        <a:tint val="4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6-D21D-4141-9AE5-33FBE4330C71}"/>
                    </c:ext>
                  </c:extLst>
                </c:dPt>
                <c:dPt>
                  <c:idx val="25"/>
                  <c:bubble3D val="0"/>
                  <c:spPr>
                    <a:solidFill>
                      <a:schemeClr val="accent4">
                        <a:tint val="3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68-D21D-4141-9AE5-33FBE4330C71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'Countries in 2030 select interv'!$C$3:$C$28</c15:sqref>
                        </c15:formulaRef>
                      </c:ext>
                    </c:extLst>
                    <c:strCache>
                      <c:ptCount val="26"/>
                      <c:pt idx="0">
                        <c:v>South Africa</c:v>
                      </c:pt>
                      <c:pt idx="1">
                        <c:v>India</c:v>
                      </c:pt>
                      <c:pt idx="2">
                        <c:v>China</c:v>
                      </c:pt>
                      <c:pt idx="3">
                        <c:v>Brazil</c:v>
                      </c:pt>
                      <c:pt idx="4">
                        <c:v>Pakistan  </c:v>
                      </c:pt>
                      <c:pt idx="5">
                        <c:v>Russian Federation</c:v>
                      </c:pt>
                      <c:pt idx="6">
                        <c:v>Indonesia</c:v>
                      </c:pt>
                      <c:pt idx="7">
                        <c:v>Philippines</c:v>
                      </c:pt>
                      <c:pt idx="8">
                        <c:v>Mozambique</c:v>
                      </c:pt>
                      <c:pt idx="9">
                        <c:v>Ukraine</c:v>
                      </c:pt>
                      <c:pt idx="10">
                        <c:v>Tanzania</c:v>
                      </c:pt>
                      <c:pt idx="11">
                        <c:v>Mexico</c:v>
                      </c:pt>
                      <c:pt idx="12">
                        <c:v>Ethiopia</c:v>
                      </c:pt>
                      <c:pt idx="13">
                        <c:v>Papua New Guinea  </c:v>
                      </c:pt>
                      <c:pt idx="14">
                        <c:v>Madagascar</c:v>
                      </c:pt>
                      <c:pt idx="15">
                        <c:v>Bangladesh</c:v>
                      </c:pt>
                      <c:pt idx="16">
                        <c:v>Kenya</c:v>
                      </c:pt>
                      <c:pt idx="17">
                        <c:v>Afghanistan</c:v>
                      </c:pt>
                      <c:pt idx="18">
                        <c:v>Uganda</c:v>
                      </c:pt>
                      <c:pt idx="20">
                        <c:v>Colombia</c:v>
                      </c:pt>
                      <c:pt idx="21">
                        <c:v>Thailand</c:v>
                      </c:pt>
                      <c:pt idx="22">
                        <c:v>Myanmar</c:v>
                      </c:pt>
                      <c:pt idx="23">
                        <c:v>Turkey</c:v>
                      </c:pt>
                      <c:pt idx="24">
                        <c:v>Nigeria  </c:v>
                      </c:pt>
                      <c:pt idx="25">
                        <c:v>Others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Countries in 2030 select interv'!$D$3:$D$28</c15:sqref>
                        </c15:formulaRef>
                      </c:ext>
                    </c:extLst>
                    <c:numCache>
                      <c:formatCode>General</c:formatCode>
                      <c:ptCount val="26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69-D21D-4141-9AE5-33FBE4330C71}"/>
                  </c:ext>
                </c:extLst>
              </c15:ser>
            </c15:filteredPieSeries>
            <c15:filteredPi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Countries in 2030 select interv'!$E$2</c15:sqref>
                        </c15:formulaRef>
                      </c:ext>
                    </c:extLst>
                    <c:strCache>
                      <c:ptCount val="1"/>
                      <c:pt idx="0">
                        <c:v>Total Prevention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4">
                        <a:shade val="3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B-D21D-4141-9AE5-33FBE4330C71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4">
                        <a:shade val="4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D-D21D-4141-9AE5-33FBE4330C71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4">
                        <a:shade val="4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F-D21D-4141-9AE5-33FBE4330C71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>
                        <a:shade val="5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1-D21D-4141-9AE5-33FBE4330C71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4">
                        <a:shade val="55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3-D21D-4141-9AE5-33FBE4330C71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4">
                        <a:shade val="6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5-D21D-4141-9AE5-33FBE4330C71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4">
                        <a:shade val="6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7-D21D-4141-9AE5-33FBE4330C71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4">
                        <a:shade val="7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9-D21D-4141-9AE5-33FBE4330C71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4">
                        <a:shade val="7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B-D21D-4141-9AE5-33FBE4330C71}"/>
                    </c:ext>
                  </c:extLst>
                </c:dPt>
                <c:dPt>
                  <c:idx val="9"/>
                  <c:bubble3D val="0"/>
                  <c:spPr>
                    <a:solidFill>
                      <a:schemeClr val="accent4">
                        <a:shade val="8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D-D21D-4141-9AE5-33FBE4330C71}"/>
                    </c:ext>
                  </c:extLst>
                </c:dPt>
                <c:dPt>
                  <c:idx val="10"/>
                  <c:bubble3D val="0"/>
                  <c:spPr>
                    <a:solidFill>
                      <a:schemeClr val="accent4">
                        <a:shade val="8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F-D21D-4141-9AE5-33FBE4330C71}"/>
                    </c:ext>
                  </c:extLst>
                </c:dPt>
                <c:dPt>
                  <c:idx val="11"/>
                  <c:bubble3D val="0"/>
                  <c:spPr>
                    <a:solidFill>
                      <a:schemeClr val="accent4">
                        <a:shade val="9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1-D21D-4141-9AE5-33FBE4330C71}"/>
                    </c:ext>
                  </c:extLst>
                </c:dPt>
                <c:dPt>
                  <c:idx val="12"/>
                  <c:bubble3D val="0"/>
                  <c:spPr>
                    <a:solidFill>
                      <a:schemeClr val="accent4">
                        <a:shade val="9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3-D21D-4141-9AE5-33FBE4330C71}"/>
                    </c:ext>
                  </c:extLst>
                </c:dPt>
                <c:dPt>
                  <c:idx val="13"/>
                  <c:bubble3D val="0"/>
                  <c:spPr>
                    <a:solidFill>
                      <a:schemeClr val="accent4">
                        <a:tint val="9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5-D21D-4141-9AE5-33FBE4330C71}"/>
                    </c:ext>
                  </c:extLst>
                </c:dPt>
                <c:dPt>
                  <c:idx val="14"/>
                  <c:bubble3D val="0"/>
                  <c:spPr>
                    <a:solidFill>
                      <a:schemeClr val="accent4">
                        <a:tint val="93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7-D21D-4141-9AE5-33FBE4330C71}"/>
                    </c:ext>
                  </c:extLst>
                </c:dPt>
                <c:dPt>
                  <c:idx val="15"/>
                  <c:bubble3D val="0"/>
                  <c:spPr>
                    <a:solidFill>
                      <a:schemeClr val="accent4">
                        <a:tint val="88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9-D21D-4141-9AE5-33FBE4330C71}"/>
                    </c:ext>
                  </c:extLst>
                </c:dPt>
                <c:dPt>
                  <c:idx val="16"/>
                  <c:bubble3D val="0"/>
                  <c:spPr>
                    <a:solidFill>
                      <a:schemeClr val="accent4">
                        <a:tint val="8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B-D21D-4141-9AE5-33FBE4330C71}"/>
                    </c:ext>
                  </c:extLst>
                </c:dPt>
                <c:dPt>
                  <c:idx val="17"/>
                  <c:bubble3D val="0"/>
                  <c:spPr>
                    <a:solidFill>
                      <a:schemeClr val="accent4">
                        <a:tint val="7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D-D21D-4141-9AE5-33FBE4330C71}"/>
                    </c:ext>
                  </c:extLst>
                </c:dPt>
                <c:dPt>
                  <c:idx val="18"/>
                  <c:bubble3D val="0"/>
                  <c:spPr>
                    <a:solidFill>
                      <a:schemeClr val="accent4">
                        <a:tint val="7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F-D21D-4141-9AE5-33FBE4330C71}"/>
                    </c:ext>
                  </c:extLst>
                </c:dPt>
                <c:dPt>
                  <c:idx val="19"/>
                  <c:bubble3D val="0"/>
                  <c:spPr>
                    <a:solidFill>
                      <a:schemeClr val="accent4">
                        <a:tint val="67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1-D21D-4141-9AE5-33FBE4330C71}"/>
                    </c:ext>
                  </c:extLst>
                </c:dPt>
                <c:dPt>
                  <c:idx val="20"/>
                  <c:bubble3D val="0"/>
                  <c:spPr>
                    <a:solidFill>
                      <a:schemeClr val="accent4">
                        <a:tint val="62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3-D21D-4141-9AE5-33FBE4330C71}"/>
                    </c:ext>
                  </c:extLst>
                </c:dPt>
                <c:dPt>
                  <c:idx val="21"/>
                  <c:bubble3D val="0"/>
                  <c:spPr>
                    <a:solidFill>
                      <a:schemeClr val="accent4">
                        <a:tint val="5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5-D21D-4141-9AE5-33FBE4330C71}"/>
                    </c:ext>
                  </c:extLst>
                </c:dPt>
                <c:dPt>
                  <c:idx val="22"/>
                  <c:bubble3D val="0"/>
                  <c:spPr>
                    <a:solidFill>
                      <a:schemeClr val="accent4">
                        <a:tint val="5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7-D21D-4141-9AE5-33FBE4330C71}"/>
                    </c:ext>
                  </c:extLst>
                </c:dPt>
                <c:dPt>
                  <c:idx val="23"/>
                  <c:bubble3D val="0"/>
                  <c:spPr>
                    <a:solidFill>
                      <a:schemeClr val="accent4">
                        <a:tint val="4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9-D21D-4141-9AE5-33FBE4330C71}"/>
                    </c:ext>
                  </c:extLst>
                </c:dPt>
                <c:dPt>
                  <c:idx val="24"/>
                  <c:bubble3D val="0"/>
                  <c:spPr>
                    <a:solidFill>
                      <a:schemeClr val="accent4">
                        <a:tint val="41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B-D21D-4141-9AE5-33FBE4330C71}"/>
                    </c:ext>
                  </c:extLst>
                </c:dPt>
                <c:dPt>
                  <c:idx val="25"/>
                  <c:bubble3D val="0"/>
                  <c:spPr>
                    <a:solidFill>
                      <a:schemeClr val="accent4">
                        <a:tint val="36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D-D21D-4141-9AE5-33FBE4330C71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Countries in 2030 select interv'!$C$3:$C$28</c15:sqref>
                        </c15:formulaRef>
                      </c:ext>
                    </c:extLst>
                    <c:strCache>
                      <c:ptCount val="26"/>
                      <c:pt idx="0">
                        <c:v>South Africa</c:v>
                      </c:pt>
                      <c:pt idx="1">
                        <c:v>India</c:v>
                      </c:pt>
                      <c:pt idx="2">
                        <c:v>China</c:v>
                      </c:pt>
                      <c:pt idx="3">
                        <c:v>Brazil</c:v>
                      </c:pt>
                      <c:pt idx="4">
                        <c:v>Pakistan  </c:v>
                      </c:pt>
                      <c:pt idx="5">
                        <c:v>Russian Federation</c:v>
                      </c:pt>
                      <c:pt idx="6">
                        <c:v>Indonesia</c:v>
                      </c:pt>
                      <c:pt idx="7">
                        <c:v>Philippines</c:v>
                      </c:pt>
                      <c:pt idx="8">
                        <c:v>Mozambique</c:v>
                      </c:pt>
                      <c:pt idx="9">
                        <c:v>Ukraine</c:v>
                      </c:pt>
                      <c:pt idx="10">
                        <c:v>Tanzania</c:v>
                      </c:pt>
                      <c:pt idx="11">
                        <c:v>Mexico</c:v>
                      </c:pt>
                      <c:pt idx="12">
                        <c:v>Ethiopia</c:v>
                      </c:pt>
                      <c:pt idx="13">
                        <c:v>Papua New Guinea  </c:v>
                      </c:pt>
                      <c:pt idx="14">
                        <c:v>Madagascar</c:v>
                      </c:pt>
                      <c:pt idx="15">
                        <c:v>Bangladesh</c:v>
                      </c:pt>
                      <c:pt idx="16">
                        <c:v>Kenya</c:v>
                      </c:pt>
                      <c:pt idx="17">
                        <c:v>Afghanistan</c:v>
                      </c:pt>
                      <c:pt idx="18">
                        <c:v>Uganda</c:v>
                      </c:pt>
                      <c:pt idx="20">
                        <c:v>Colombia</c:v>
                      </c:pt>
                      <c:pt idx="21">
                        <c:v>Thailand</c:v>
                      </c:pt>
                      <c:pt idx="22">
                        <c:v>Myanmar</c:v>
                      </c:pt>
                      <c:pt idx="23">
                        <c:v>Turkey</c:v>
                      </c:pt>
                      <c:pt idx="24">
                        <c:v>Nigeria  </c:v>
                      </c:pt>
                      <c:pt idx="25">
                        <c:v>Others 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Countries in 2030 select interv'!$E$3:$E$28</c15:sqref>
                        </c15:formulaRef>
                      </c:ext>
                    </c:extLst>
                    <c:numCache>
                      <c:formatCode>"$"#,##0</c:formatCode>
                      <c:ptCount val="26"/>
                      <c:pt idx="0">
                        <c:v>490789714.55831331</c:v>
                      </c:pt>
                      <c:pt idx="1">
                        <c:v>414001299.97424996</c:v>
                      </c:pt>
                      <c:pt idx="2">
                        <c:v>269543510.69843566</c:v>
                      </c:pt>
                      <c:pt idx="3">
                        <c:v>246359916.18137044</c:v>
                      </c:pt>
                      <c:pt idx="4">
                        <c:v>231069678.91115415</c:v>
                      </c:pt>
                      <c:pt idx="5">
                        <c:v>222857702.1038453</c:v>
                      </c:pt>
                      <c:pt idx="6">
                        <c:v>189860090.52753848</c:v>
                      </c:pt>
                      <c:pt idx="7">
                        <c:v>175805574.44795805</c:v>
                      </c:pt>
                      <c:pt idx="8">
                        <c:v>143632359.70083821</c:v>
                      </c:pt>
                      <c:pt idx="9">
                        <c:v>101552239.62565982</c:v>
                      </c:pt>
                      <c:pt idx="10">
                        <c:v>101203139.9530617</c:v>
                      </c:pt>
                      <c:pt idx="11">
                        <c:v>87946566.14708811</c:v>
                      </c:pt>
                      <c:pt idx="12">
                        <c:v>76266889.708178371</c:v>
                      </c:pt>
                      <c:pt idx="13">
                        <c:v>74379824.889903396</c:v>
                      </c:pt>
                      <c:pt idx="14">
                        <c:v>65096881.884867765</c:v>
                      </c:pt>
                      <c:pt idx="15">
                        <c:v>65088366.807144284</c:v>
                      </c:pt>
                      <c:pt idx="16">
                        <c:v>61874785.937546842</c:v>
                      </c:pt>
                      <c:pt idx="17">
                        <c:v>61530712.638994157</c:v>
                      </c:pt>
                      <c:pt idx="18">
                        <c:v>60240772.520336747</c:v>
                      </c:pt>
                      <c:pt idx="20">
                        <c:v>59570545.528823473</c:v>
                      </c:pt>
                      <c:pt idx="21">
                        <c:v>56602302.927414082</c:v>
                      </c:pt>
                      <c:pt idx="22">
                        <c:v>47155825.041136846</c:v>
                      </c:pt>
                      <c:pt idx="23">
                        <c:v>46327671.477308027</c:v>
                      </c:pt>
                      <c:pt idx="24">
                        <c:v>45535681.68380308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9E-D21D-4141-9AE5-33FBE4330C71}"/>
                  </c:ext>
                </c:extLst>
              </c15:ser>
            </c15:filteredPieSeries>
          </c:ext>
        </c:extLst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25400" cap="flat" cmpd="sng" algn="ctr">
      <a:noFill/>
      <a:prstDash val="solid"/>
      <a:round/>
    </a:ln>
    <a:effectLst/>
  </c:spPr>
  <c:txPr>
    <a:bodyPr/>
    <a:lstStyle/>
    <a:p>
      <a:pPr>
        <a:defRPr sz="800">
          <a:solidFill>
            <a:schemeClr val="dk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CH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AT" sz="1800" b="1"/>
              <a:t>Estimated PrEP need by country income catego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rEP_by_pop!$I$137</c:f>
              <c:strCache>
                <c:ptCount val="1"/>
                <c:pt idx="0">
                  <c:v>Upper-middle incom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PrEP_by_pop!$H$138:$H$143</c:f>
              <c:strCache>
                <c:ptCount val="6"/>
                <c:pt idx="0">
                  <c:v>Asia and Pacific</c:v>
                </c:pt>
                <c:pt idx="1">
                  <c:v>Europe and Central Asia</c:v>
                </c:pt>
                <c:pt idx="2">
                  <c:v>Eastern and southern Africa</c:v>
                </c:pt>
                <c:pt idx="3">
                  <c:v>Latin America</c:v>
                </c:pt>
                <c:pt idx="4">
                  <c:v>Middle East and North Africa</c:v>
                </c:pt>
                <c:pt idx="5">
                  <c:v>West and Central Africa</c:v>
                </c:pt>
              </c:strCache>
            </c:strRef>
          </c:cat>
          <c:val>
            <c:numRef>
              <c:f>PrEP_by_pop!$I$138:$I$143</c:f>
              <c:numCache>
                <c:formatCode>_(* #,##0_);_(* \(#,##0\);_(* "-"??_);_(@_)</c:formatCode>
                <c:ptCount val="6"/>
                <c:pt idx="0">
                  <c:v>2036038.665093581</c:v>
                </c:pt>
                <c:pt idx="1">
                  <c:v>744455.80974434956</c:v>
                </c:pt>
                <c:pt idx="2">
                  <c:v>4123372.1599222533</c:v>
                </c:pt>
                <c:pt idx="3">
                  <c:v>1453408.4564621926</c:v>
                </c:pt>
                <c:pt idx="4">
                  <c:v>42294.746742149859</c:v>
                </c:pt>
                <c:pt idx="5">
                  <c:v>25567.614406583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EB-42E9-B392-2D5FF194F652}"/>
            </c:ext>
          </c:extLst>
        </c:ser>
        <c:ser>
          <c:idx val="1"/>
          <c:order val="1"/>
          <c:tx>
            <c:strRef>
              <c:f>PrEP_by_pop!$J$137</c:f>
              <c:strCache>
                <c:ptCount val="1"/>
                <c:pt idx="0">
                  <c:v>Lower-middle incom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PrEP_by_pop!$H$138:$H$143</c:f>
              <c:strCache>
                <c:ptCount val="6"/>
                <c:pt idx="0">
                  <c:v>Asia and Pacific</c:v>
                </c:pt>
                <c:pt idx="1">
                  <c:v>Europe and Central Asia</c:v>
                </c:pt>
                <c:pt idx="2">
                  <c:v>Eastern and southern Africa</c:v>
                </c:pt>
                <c:pt idx="3">
                  <c:v>Latin America</c:v>
                </c:pt>
                <c:pt idx="4">
                  <c:v>Middle East and North Africa</c:v>
                </c:pt>
                <c:pt idx="5">
                  <c:v>West and Central Africa</c:v>
                </c:pt>
              </c:strCache>
            </c:strRef>
          </c:cat>
          <c:val>
            <c:numRef>
              <c:f>PrEP_by_pop!$J$138:$J$143</c:f>
              <c:numCache>
                <c:formatCode>_(* #,##0_);_(* \(#,##0\);_(* "-"??_);_(@_)</c:formatCode>
                <c:ptCount val="6"/>
                <c:pt idx="0">
                  <c:v>4816895.9036465408</c:v>
                </c:pt>
                <c:pt idx="1">
                  <c:v>308677.68324259383</c:v>
                </c:pt>
                <c:pt idx="2">
                  <c:v>820409.44245172211</c:v>
                </c:pt>
                <c:pt idx="3">
                  <c:v>122759.56304296931</c:v>
                </c:pt>
                <c:pt idx="4">
                  <c:v>284720.42488347052</c:v>
                </c:pt>
                <c:pt idx="5">
                  <c:v>441395.22766849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EB-42E9-B392-2D5FF194F652}"/>
            </c:ext>
          </c:extLst>
        </c:ser>
        <c:ser>
          <c:idx val="2"/>
          <c:order val="2"/>
          <c:tx>
            <c:strRef>
              <c:f>PrEP_by_pop!$K$137</c:f>
              <c:strCache>
                <c:ptCount val="1"/>
                <c:pt idx="0">
                  <c:v>Low inco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PrEP_by_pop!$H$138:$H$143</c:f>
              <c:strCache>
                <c:ptCount val="6"/>
                <c:pt idx="0">
                  <c:v>Asia and Pacific</c:v>
                </c:pt>
                <c:pt idx="1">
                  <c:v>Europe and Central Asia</c:v>
                </c:pt>
                <c:pt idx="2">
                  <c:v>Eastern and southern Africa</c:v>
                </c:pt>
                <c:pt idx="3">
                  <c:v>Latin America</c:v>
                </c:pt>
                <c:pt idx="4">
                  <c:v>Middle East and North Africa</c:v>
                </c:pt>
                <c:pt idx="5">
                  <c:v>West and Central Africa</c:v>
                </c:pt>
              </c:strCache>
            </c:strRef>
          </c:cat>
          <c:val>
            <c:numRef>
              <c:f>PrEP_by_pop!$K$138:$K$143</c:f>
              <c:numCache>
                <c:formatCode>_(* #,##0_);_(* \(#,##0\);_(* "-"??_);_(@_)</c:formatCode>
                <c:ptCount val="6"/>
                <c:pt idx="0">
                  <c:v>135959.30927057684</c:v>
                </c:pt>
                <c:pt idx="1">
                  <c:v>0</c:v>
                </c:pt>
                <c:pt idx="2">
                  <c:v>3456554.303268488</c:v>
                </c:pt>
                <c:pt idx="3">
                  <c:v>46024.076031170749</c:v>
                </c:pt>
                <c:pt idx="4">
                  <c:v>55930.305387772773</c:v>
                </c:pt>
                <c:pt idx="5">
                  <c:v>252778.003688468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EB-42E9-B392-2D5FF194F6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4532480"/>
        <c:axId val="224524800"/>
      </c:barChart>
      <c:catAx>
        <c:axId val="224532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24524800"/>
        <c:crosses val="autoZero"/>
        <c:auto val="1"/>
        <c:lblAlgn val="ctr"/>
        <c:lblOffset val="100"/>
        <c:noMultiLvlLbl val="0"/>
      </c:catAx>
      <c:valAx>
        <c:axId val="2245248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224532480"/>
        <c:crosses val="autoZero"/>
        <c:crossBetween val="between"/>
        <c:dispUnits>
          <c:builtInUnit val="millions"/>
          <c:dispUnitsLbl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de-AT" sz="1600" b="1" dirty="0"/>
                    <a:t>Millions of people using PrEP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AT" sz="1600" b="1"/>
              <a:t>PrEP</a:t>
            </a:r>
            <a:r>
              <a:rPr lang="de-AT" sz="1600" b="1" baseline="0"/>
              <a:t> targets by country income level</a:t>
            </a:r>
            <a:endParaRPr lang="de-AT" sz="16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AT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C3-4D4F-A4B5-16DECF190687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C3-4D4F-A4B5-16DECF19068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C3-4D4F-A4B5-16DECF1906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CH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rEP_by_pop!$G$126:$G$128</c:f>
              <c:strCache>
                <c:ptCount val="3"/>
                <c:pt idx="0">
                  <c:v>Upper-middle income</c:v>
                </c:pt>
                <c:pt idx="1">
                  <c:v>Lower-middle income</c:v>
                </c:pt>
                <c:pt idx="2">
                  <c:v>Low income</c:v>
                </c:pt>
              </c:strCache>
            </c:strRef>
          </c:cat>
          <c:val>
            <c:numRef>
              <c:f>PrEP_by_pop!$Q$126:$Q$128</c:f>
              <c:numCache>
                <c:formatCode>_(* #,##0_);_(* \(#,##0\);_(* "-"??_);_(@_)</c:formatCode>
                <c:ptCount val="3"/>
                <c:pt idx="0">
                  <c:v>8425137.4523711074</c:v>
                </c:pt>
                <c:pt idx="1">
                  <c:v>6794858.2449357901</c:v>
                </c:pt>
                <c:pt idx="2">
                  <c:v>3947245.9976464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4C3-4D4F-A4B5-16DECF190687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B4754-1F14-47B5-89BF-441E1447BFCE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71C04F-0739-4CD5-98A0-CE8C1749AE85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48502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978463-BB9F-4D04-97EC-C3B2C95CE2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501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9BEE2-871A-A070-A318-58E058DC32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91F2C5-8EEE-BEA9-756C-5FE64DA101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66662E-D7A8-73A8-2205-8337BD74CA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FF9A8C-D3F7-787A-CF58-289D80F80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006A0E-6224-4D43-AEE1-8D2790A136A3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105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71C04F-0739-4CD5-98A0-CE8C1749AE85}" type="slidenum">
              <a:rPr lang="en-CH" smtClean="0"/>
              <a:t>12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1266267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EC8BD3-0FF5-00A5-DA36-A3E57B8D5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FC1BAC-FC2F-063B-2188-3F105840AC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E9A200-B3AE-5BD9-172E-3C77222DE2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061BB9-F294-4B9D-79FE-7A0D63F944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31254-3E2A-413C-B32A-FCE3FE6A85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559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5C218F-EC0F-4D90-9154-090DF1A1DCDD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557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0.svg"/><Relationship Id="rId7" Type="http://schemas.openxmlformats.org/officeDocument/2006/relationships/image" Target="../media/image16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5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7" Type="http://schemas.openxmlformats.org/officeDocument/2006/relationships/image" Target="../media/image32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1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19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6.xml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19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19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B790-ED4F-D848-A311-90295FFA17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EA2F0-CE23-FC2F-C29B-BFAFD52F42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0235EB-9FD2-CCFC-15FD-412F13259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978EA-3F34-5891-7755-1D66133AB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7BD22E-FD53-7672-E7B1-957994E0B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814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E7301-FBDB-8C6E-87EB-58CE3490C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CFA024-7C46-D6F3-BDB5-14287C0C23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C8303-2256-45EC-47E8-D01F1C468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A68CF-736A-3270-0427-F36FBBD7C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8B2F7B-C69B-CB13-2A5F-0227DC98B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21626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3F454-0310-DEE5-31C7-6734F23548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2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B090795-CF1C-0F4A-98A1-07B20F9206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838D6EDE-133D-BF4C-ADCF-BDE908D8C2C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143F11-B6EE-FD47-8F9A-9E806FC057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15733FC-9D90-3A4D-987E-D546402A57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4D3852B-6D10-1E4C-BEE6-EAAE7AA5713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36652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46DC48B-7BAA-D14A-8C1C-A485D06554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665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14AD23-0C8C-AD40-8970-D764AD456D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665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4BC8EA1-B49E-F443-B9BC-B5EE2BDF8F4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46214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8771A45-1D33-664D-AEC4-8264DE9ED1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6215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502DC39-836C-8448-BDD3-E0F72147DA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46215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DF9626B2-1C0E-9347-9E95-CCFA46D80E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58952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B22B87F2-FF41-F147-8F75-40224BE2304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5895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E77E212-EABF-7C48-A50F-71DCCA4FDC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895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Picture Placeholder 15">
            <a:extLst>
              <a:ext uri="{FF2B5EF4-FFF2-40B4-BE49-F238E27FC236}">
                <a16:creationId xmlns:a16="http://schemas.microsoft.com/office/drawing/2014/main" id="{6C769E0E-43DB-B942-94A1-DF4B9E41B8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937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3F6500DD-E646-CB4C-AAC9-09228094E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53937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F70E3427-442D-8241-922A-798DC3805D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937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A5E7FC2D-F04B-CA44-8D49-9199673FB94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42458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6040FF23-6F81-C548-8DD7-99326E441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2458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5299F0A2-BC7F-8C4D-9DEC-C866B4E3AC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245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EF93156C-780A-4344-8CCB-92A44DFA5C66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436653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642F354E-1DF3-3D49-B35F-1FEFBFC44E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437446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3">
            <a:extLst>
              <a:ext uri="{FF2B5EF4-FFF2-40B4-BE49-F238E27FC236}">
                <a16:creationId xmlns:a16="http://schemas.microsoft.com/office/drawing/2014/main" id="{198F4741-5459-714B-A67E-F05FDD1C303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3665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3" name="Picture Placeholder 24">
            <a:extLst>
              <a:ext uri="{FF2B5EF4-FFF2-40B4-BE49-F238E27FC236}">
                <a16:creationId xmlns:a16="http://schemas.microsoft.com/office/drawing/2014/main" id="{9850B3A4-BEB5-914D-9E29-5541AFF2C7F5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346215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B37A47E2-D8C5-CE44-9F3E-90D74462C6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47801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20DD7057-BB3F-034A-B6C8-8BB91A7DCF6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6215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9" name="Picture Placeholder 27">
            <a:extLst>
              <a:ext uri="{FF2B5EF4-FFF2-40B4-BE49-F238E27FC236}">
                <a16:creationId xmlns:a16="http://schemas.microsoft.com/office/drawing/2014/main" id="{28C61416-CCEB-8D4B-A80F-2900B5D57F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258953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>
            <a:extLst>
              <a:ext uri="{FF2B5EF4-FFF2-40B4-BE49-F238E27FC236}">
                <a16:creationId xmlns:a16="http://schemas.microsoft.com/office/drawing/2014/main" id="{605A5D19-741C-6D46-8D9C-AD40D4513C0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61333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4A0858AF-A93F-C345-832C-5DCF9542C8B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895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5" name="Picture Placeholder 30">
            <a:extLst>
              <a:ext uri="{FF2B5EF4-FFF2-40B4-BE49-F238E27FC236}">
                <a16:creationId xmlns:a16="http://schemas.microsoft.com/office/drawing/2014/main" id="{C756789D-9274-1B45-BB84-9452FA9CCAB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53937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>
            <a:extLst>
              <a:ext uri="{FF2B5EF4-FFF2-40B4-BE49-F238E27FC236}">
                <a16:creationId xmlns:a16="http://schemas.microsoft.com/office/drawing/2014/main" id="{09811651-4B31-B740-BE67-D9D6934FFA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57113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9BFBE019-84D6-9340-8BC7-341DAC618FE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53937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1" name="Date Placeholder 33">
            <a:extLst>
              <a:ext uri="{FF2B5EF4-FFF2-40B4-BE49-F238E27FC236}">
                <a16:creationId xmlns:a16="http://schemas.microsoft.com/office/drawing/2014/main" id="{67E761B3-68F1-1441-AB68-94319C540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AA53803-7777-AC4A-BF5E-34B4E07899F7}" type="datetime3">
              <a:rPr lang="en-US" smtClean="0"/>
              <a:t>31 March 2026</a:t>
            </a:fld>
            <a:endParaRPr lang="en-US"/>
          </a:p>
        </p:txBody>
      </p:sp>
      <p:sp>
        <p:nvSpPr>
          <p:cNvPr id="39" name="Footer Placeholder 34">
            <a:extLst>
              <a:ext uri="{FF2B5EF4-FFF2-40B4-BE49-F238E27FC236}">
                <a16:creationId xmlns:a16="http://schemas.microsoft.com/office/drawing/2014/main" id="{58CC1679-E6A1-FF48-8884-C557A2866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0" name="Slide Number Placeholder 35">
            <a:extLst>
              <a:ext uri="{FF2B5EF4-FFF2-40B4-BE49-F238E27FC236}">
                <a16:creationId xmlns:a16="http://schemas.microsoft.com/office/drawing/2014/main" id="{7BDF5D61-8DA9-3B47-ACAE-55FC0F622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6F589A48-C3DC-924E-9308-89F5E6ACBA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055837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CB2BA0DD-3377-960E-0182-0505445CDAB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55837" y="3338482"/>
            <a:ext cx="1600617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05348C2B-533E-8F16-A43D-3182BDCEBC0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55837" y="3511246"/>
            <a:ext cx="1600617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" name="Picture Placeholder 30">
            <a:extLst>
              <a:ext uri="{FF2B5EF4-FFF2-40B4-BE49-F238E27FC236}">
                <a16:creationId xmlns:a16="http://schemas.microsoft.com/office/drawing/2014/main" id="{20B4052F-2F5F-6990-9EBD-29C456D3A23A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0055837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D0189C1C-F1D6-5954-3B6A-5E7E063C64C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59013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4328FEB9-5888-93EF-4022-CDF87BC5CC7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055837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</p:spTree>
    <p:extLst>
      <p:ext uri="{BB962C8B-B14F-4D97-AF65-F5344CB8AC3E}">
        <p14:creationId xmlns:p14="http://schemas.microsoft.com/office/powerpoint/2010/main" val="359236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ACCED-ABFF-E9F1-2BA9-9C5718D0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4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1C0B9DCD-5774-B444-A489-F6E33A8BB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3610E1-2C9A-214B-940F-0986F9409B2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3539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E922DF5-67A7-1548-BF34-68B963F719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3539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B97FE2-3B0D-7149-B0BB-4C67351BE6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539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08CCE7-7D0F-E341-853D-49324AB9AAB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163812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070EE2F-A61D-A346-A1AD-48B6992361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3813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9804C9E-22F2-414C-8595-DD8A7D3462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3813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67A1C803-BB16-CD47-ACDA-2AD15439430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794086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FA1F4B3-C6A9-3846-8FDC-1D9CD8D055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4086" y="3253865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CBD34077-F668-0349-BB4C-1EF3B85C2B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4086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BC7661D0-8A97-5C49-92C8-B6635FA517F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24359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E16230B-6C8D-A747-933D-DA2F0CC9F2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24360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DBFACE1-B1EE-1E4B-85A1-B0CF039CBC7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24360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FCE6A3EB-E7EB-E840-AB9A-009889F913F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54633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361BEE2D-C1E5-9848-98A8-E0AF589931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54633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E351946E-8582-E342-AC35-72E76B072D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54633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96BC1F6-C55D-5245-AD9D-4C11FDD3FE9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684907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6" name="Text Placeholder 19">
            <a:extLst>
              <a:ext uri="{FF2B5EF4-FFF2-40B4-BE49-F238E27FC236}">
                <a16:creationId xmlns:a16="http://schemas.microsoft.com/office/drawing/2014/main" id="{2B89CEDD-FF0E-464D-8925-C479A3F413E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84907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8" name="Text Placeholder 20">
            <a:extLst>
              <a:ext uri="{FF2B5EF4-FFF2-40B4-BE49-F238E27FC236}">
                <a16:creationId xmlns:a16="http://schemas.microsoft.com/office/drawing/2014/main" id="{AD45A73E-D755-104C-80AB-14FD871AF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84907" y="3436719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1E9534F7-2DB9-B741-B6FA-FB0233E0D88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315181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2" name="Text Placeholder 22">
            <a:extLst>
              <a:ext uri="{FF2B5EF4-FFF2-40B4-BE49-F238E27FC236}">
                <a16:creationId xmlns:a16="http://schemas.microsoft.com/office/drawing/2014/main" id="{498C0996-AEBD-834F-8C1E-5C244D3E33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15181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37A42628-268F-7245-B03E-7273E573E20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315181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6" name="Picture Placeholder 24">
            <a:extLst>
              <a:ext uri="{FF2B5EF4-FFF2-40B4-BE49-F238E27FC236}">
                <a16:creationId xmlns:a16="http://schemas.microsoft.com/office/drawing/2014/main" id="{F2A89884-3199-424B-8EFE-0B742967A16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33539" y="4049716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8" name="Text Placeholder 25">
            <a:extLst>
              <a:ext uri="{FF2B5EF4-FFF2-40B4-BE49-F238E27FC236}">
                <a16:creationId xmlns:a16="http://schemas.microsoft.com/office/drawing/2014/main" id="{99FE149C-EE6E-B146-9126-527F7A6E1C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3539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11B5BDA2-9E8E-A54A-8271-EB13DB66A8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3539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9" name="Picture Placeholder 27">
            <a:extLst>
              <a:ext uri="{FF2B5EF4-FFF2-40B4-BE49-F238E27FC236}">
                <a16:creationId xmlns:a16="http://schemas.microsoft.com/office/drawing/2014/main" id="{0E65F18E-24FA-9A4D-9BA3-FDF674C6207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163812" y="4049716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>
            <a:extLst>
              <a:ext uri="{FF2B5EF4-FFF2-40B4-BE49-F238E27FC236}">
                <a16:creationId xmlns:a16="http://schemas.microsoft.com/office/drawing/2014/main" id="{20A1ADF0-62A7-274C-A1F6-322CF48B04C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63812" y="5511106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D27F5E24-398B-2E46-9ACA-325D250B1DC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163813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65" name="Picture Placeholder 30">
            <a:extLst>
              <a:ext uri="{FF2B5EF4-FFF2-40B4-BE49-F238E27FC236}">
                <a16:creationId xmlns:a16="http://schemas.microsoft.com/office/drawing/2014/main" id="{B59CCF85-5C43-934B-BEA3-833A6B771C2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794086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>
            <a:extLst>
              <a:ext uri="{FF2B5EF4-FFF2-40B4-BE49-F238E27FC236}">
                <a16:creationId xmlns:a16="http://schemas.microsoft.com/office/drawing/2014/main" id="{16882A08-DBAF-2345-AE9C-8F7B6F6BA8A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94086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C2690339-9139-544B-A30E-035B02DAEB4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94086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7" name="Picture Placeholder 33">
            <a:extLst>
              <a:ext uri="{FF2B5EF4-FFF2-40B4-BE49-F238E27FC236}">
                <a16:creationId xmlns:a16="http://schemas.microsoft.com/office/drawing/2014/main" id="{C4597007-754F-084D-B58B-B49AA63B5C7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24360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4">
            <a:extLst>
              <a:ext uri="{FF2B5EF4-FFF2-40B4-BE49-F238E27FC236}">
                <a16:creationId xmlns:a16="http://schemas.microsoft.com/office/drawing/2014/main" id="{B8D33AAF-B52A-DF4C-97C5-9B314A17CDF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424360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5">
            <a:extLst>
              <a:ext uri="{FF2B5EF4-FFF2-40B4-BE49-F238E27FC236}">
                <a16:creationId xmlns:a16="http://schemas.microsoft.com/office/drawing/2014/main" id="{D0355B35-8985-084A-BBF4-7330CA6A659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424359" y="5683000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3" name="Picture Placeholder 36">
            <a:extLst>
              <a:ext uri="{FF2B5EF4-FFF2-40B4-BE49-F238E27FC236}">
                <a16:creationId xmlns:a16="http://schemas.microsoft.com/office/drawing/2014/main" id="{CF226C3F-F4D7-DD4A-9708-694691D4D9E1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7054633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37">
            <a:extLst>
              <a:ext uri="{FF2B5EF4-FFF2-40B4-BE49-F238E27FC236}">
                <a16:creationId xmlns:a16="http://schemas.microsoft.com/office/drawing/2014/main" id="{515C93A5-5B65-B444-8884-6576728F26D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054633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38">
            <a:extLst>
              <a:ext uri="{FF2B5EF4-FFF2-40B4-BE49-F238E27FC236}">
                <a16:creationId xmlns:a16="http://schemas.microsoft.com/office/drawing/2014/main" id="{3B35359D-3436-F145-B61C-98ED2FF7C90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54633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02" name="Picture Placeholder 39">
            <a:extLst>
              <a:ext uri="{FF2B5EF4-FFF2-40B4-BE49-F238E27FC236}">
                <a16:creationId xmlns:a16="http://schemas.microsoft.com/office/drawing/2014/main" id="{4BE1AA30-6A6E-8B43-9AF5-6A8F53207ED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684907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4" name="Text Placeholder 40">
            <a:extLst>
              <a:ext uri="{FF2B5EF4-FFF2-40B4-BE49-F238E27FC236}">
                <a16:creationId xmlns:a16="http://schemas.microsoft.com/office/drawing/2014/main" id="{19AA4270-8849-9042-8DCF-C644856F069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684907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08" name="Text Placeholder 41">
            <a:extLst>
              <a:ext uri="{FF2B5EF4-FFF2-40B4-BE49-F238E27FC236}">
                <a16:creationId xmlns:a16="http://schemas.microsoft.com/office/drawing/2014/main" id="{4CB5D492-1596-2D4C-8DDE-D62789DC5E3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684907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12" name="Picture Placeholder 42">
            <a:extLst>
              <a:ext uri="{FF2B5EF4-FFF2-40B4-BE49-F238E27FC236}">
                <a16:creationId xmlns:a16="http://schemas.microsoft.com/office/drawing/2014/main" id="{3F86164D-94FD-D944-9186-025601AF16BB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315181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16" name="Text Placeholder 43">
            <a:extLst>
              <a:ext uri="{FF2B5EF4-FFF2-40B4-BE49-F238E27FC236}">
                <a16:creationId xmlns:a16="http://schemas.microsoft.com/office/drawing/2014/main" id="{8F28A28C-604C-3F40-BC91-0472E855AC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315181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0" name="Text Placeholder 44">
            <a:extLst>
              <a:ext uri="{FF2B5EF4-FFF2-40B4-BE49-F238E27FC236}">
                <a16:creationId xmlns:a16="http://schemas.microsoft.com/office/drawing/2014/main" id="{5C4484D7-BEC0-1142-A030-73C74DD1B04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315181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Date Placeholder 45">
            <a:extLst>
              <a:ext uri="{FF2B5EF4-FFF2-40B4-BE49-F238E27FC236}">
                <a16:creationId xmlns:a16="http://schemas.microsoft.com/office/drawing/2014/main" id="{44BE5F50-6076-6340-9DED-F04B828A1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E0D1DF2-D40A-074D-A6A2-7F43C1BC657C}" type="datetime3">
              <a:rPr lang="en-US" smtClean="0"/>
              <a:t>31 March 2026</a:t>
            </a:fld>
            <a:endParaRPr lang="en-US"/>
          </a:p>
        </p:txBody>
      </p:sp>
      <p:sp>
        <p:nvSpPr>
          <p:cNvPr id="50" name="Footer Placeholder 46">
            <a:extLst>
              <a:ext uri="{FF2B5EF4-FFF2-40B4-BE49-F238E27FC236}">
                <a16:creationId xmlns:a16="http://schemas.microsoft.com/office/drawing/2014/main" id="{E5A028A9-CAA6-6A4C-B73E-D3E671FF7C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1" name="Slide Number Placeholder 47">
            <a:extLst>
              <a:ext uri="{FF2B5EF4-FFF2-40B4-BE49-F238E27FC236}">
                <a16:creationId xmlns:a16="http://schemas.microsoft.com/office/drawing/2014/main" id="{7952EF8B-4D73-EB4C-9D8A-9A55D9C3C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64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ACCED-ABFF-E9F1-2BA9-9C5718D0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6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1C0B9DCD-5774-B444-A489-F6E33A8BB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3610E1-2C9A-214B-940F-0986F9409B2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3539" y="2029377"/>
            <a:ext cx="1188720" cy="118841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E922DF5-67A7-1548-BF34-68B963F719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3539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B97FE2-3B0D-7149-B0BB-4C67351BE6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539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508CCE7-7D0F-E341-853D-49324AB9AAB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952710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67A1C803-BB16-CD47-ACDA-2AD154394308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71881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BC7661D0-8A97-5C49-92C8-B6635FA517F3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791052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FCE6A3EB-E7EB-E840-AB9A-009889F913F3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210223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96BC1F6-C55D-5245-AD9D-4C11FDD3FE91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629394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1E9534F7-2DB9-B741-B6FA-FB0233E0D88C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9048565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2" name="Date Placeholder 45">
            <a:extLst>
              <a:ext uri="{FF2B5EF4-FFF2-40B4-BE49-F238E27FC236}">
                <a16:creationId xmlns:a16="http://schemas.microsoft.com/office/drawing/2014/main" id="{44BE5F50-6076-6340-9DED-F04B828A1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7F08DC8-B83B-204C-A56D-D41478F95502}" type="datetime3">
              <a:rPr lang="en-US" smtClean="0"/>
              <a:t>31 March 2026</a:t>
            </a:fld>
            <a:endParaRPr lang="en-US"/>
          </a:p>
        </p:txBody>
      </p:sp>
      <p:sp>
        <p:nvSpPr>
          <p:cNvPr id="50" name="Footer Placeholder 46">
            <a:extLst>
              <a:ext uri="{FF2B5EF4-FFF2-40B4-BE49-F238E27FC236}">
                <a16:creationId xmlns:a16="http://schemas.microsoft.com/office/drawing/2014/main" id="{E5A028A9-CAA6-6A4C-B73E-D3E671FF7C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1" name="Slide Number Placeholder 47">
            <a:extLst>
              <a:ext uri="{FF2B5EF4-FFF2-40B4-BE49-F238E27FC236}">
                <a16:creationId xmlns:a16="http://schemas.microsoft.com/office/drawing/2014/main" id="{7952EF8B-4D73-EB4C-9D8A-9A55D9C3C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21">
            <a:extLst>
              <a:ext uri="{FF2B5EF4-FFF2-40B4-BE49-F238E27FC236}">
                <a16:creationId xmlns:a16="http://schemas.microsoft.com/office/drawing/2014/main" id="{1D4425F1-3947-9688-343D-482840D86158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10467734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58CF8A6-32E5-C43B-08B3-00367805BA8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932848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B2A55ED-BA01-F8B5-7318-2D86BA29A85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932848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F9EA3E3-166D-2120-4EB3-75E9E72ABD8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359866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41B5EDB-70D1-27AF-4F59-01FDB57BF5C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359866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17679BB-F1BD-CF38-5ABF-94BA185D57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786884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99F55A1-5744-3C70-96DF-49BEC9D9F4A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786884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B4BE1D0-DA8F-1902-9105-2A6523FDCCC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58485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CFAD58-C447-3891-79AE-023CE2B0709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58485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A2F6C1B-1590-FAA7-85E1-D8DF3F6EC7E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599358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7E7FAE7-D169-E419-8577-93D747D45EB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599358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88A31712-27A3-8C82-D343-DA9787E3DD2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054085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6CB8D6DE-A1FA-6C36-D579-571563C5BE3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54085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375028A4-1DDF-5775-0D53-ABA6AB5D725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0453394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BB0CFF4F-E7FE-F6D1-74FF-4205FBCB092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0453394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1397A0FB-2273-B90F-8D6A-D5998FFB640D}"/>
              </a:ext>
            </a:extLst>
          </p:cNvPr>
          <p:cNvSpPr>
            <a:spLocks noGrp="1" noChangeAspect="1"/>
          </p:cNvSpPr>
          <p:nvPr>
            <p:ph type="pic" sz="quarter" idx="71" hasCustomPrompt="1"/>
          </p:nvPr>
        </p:nvSpPr>
        <p:spPr>
          <a:xfrm>
            <a:off x="533539" y="4121413"/>
            <a:ext cx="1188720" cy="118841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813AFA07-23B2-A5B7-C160-801FD257C93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33539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84F96D1C-FEAC-D281-BC7D-2B31A8083EB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33539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61FD616B-A505-C15A-7084-13552B917148}"/>
              </a:ext>
            </a:extLst>
          </p:cNvPr>
          <p:cNvSpPr>
            <a:spLocks noGrp="1" noChangeAspect="1"/>
          </p:cNvSpPr>
          <p:nvPr>
            <p:ph type="pic" sz="quarter" idx="74" hasCustomPrompt="1"/>
          </p:nvPr>
        </p:nvSpPr>
        <p:spPr>
          <a:xfrm>
            <a:off x="1952710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5" name="Picture Placeholder 9">
            <a:extLst>
              <a:ext uri="{FF2B5EF4-FFF2-40B4-BE49-F238E27FC236}">
                <a16:creationId xmlns:a16="http://schemas.microsoft.com/office/drawing/2014/main" id="{BD1315B3-FA96-C045-7DA6-53F806BD587F}"/>
              </a:ext>
            </a:extLst>
          </p:cNvPr>
          <p:cNvSpPr>
            <a:spLocks noGrp="1" noChangeAspect="1"/>
          </p:cNvSpPr>
          <p:nvPr>
            <p:ph type="pic" sz="quarter" idx="75" hasCustomPrompt="1"/>
          </p:nvPr>
        </p:nvSpPr>
        <p:spPr>
          <a:xfrm>
            <a:off x="3371881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7" name="Picture Placeholder 12">
            <a:extLst>
              <a:ext uri="{FF2B5EF4-FFF2-40B4-BE49-F238E27FC236}">
                <a16:creationId xmlns:a16="http://schemas.microsoft.com/office/drawing/2014/main" id="{E83B9443-E43A-A873-D114-AE85B8EF2EE8}"/>
              </a:ext>
            </a:extLst>
          </p:cNvPr>
          <p:cNvSpPr>
            <a:spLocks noGrp="1" noChangeAspect="1"/>
          </p:cNvSpPr>
          <p:nvPr>
            <p:ph type="pic" sz="quarter" idx="76" hasCustomPrompt="1"/>
          </p:nvPr>
        </p:nvSpPr>
        <p:spPr>
          <a:xfrm>
            <a:off x="4791052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Picture Placeholder 15">
            <a:extLst>
              <a:ext uri="{FF2B5EF4-FFF2-40B4-BE49-F238E27FC236}">
                <a16:creationId xmlns:a16="http://schemas.microsoft.com/office/drawing/2014/main" id="{E45CB82C-C5C4-1588-4D40-71E0D39FF50A}"/>
              </a:ext>
            </a:extLst>
          </p:cNvPr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6210223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3" name="Picture Placeholder 18">
            <a:extLst>
              <a:ext uri="{FF2B5EF4-FFF2-40B4-BE49-F238E27FC236}">
                <a16:creationId xmlns:a16="http://schemas.microsoft.com/office/drawing/2014/main" id="{DEDE46E8-3BDD-7014-AC1C-DEA32674F8DF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7629394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Picture Placeholder 21">
            <a:extLst>
              <a:ext uri="{FF2B5EF4-FFF2-40B4-BE49-F238E27FC236}">
                <a16:creationId xmlns:a16="http://schemas.microsoft.com/office/drawing/2014/main" id="{AA903DCB-BB6D-5A1D-DBCD-E715967C7F9E}"/>
              </a:ext>
            </a:extLst>
          </p:cNvPr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9048565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6" name="Picture Placeholder 21">
            <a:extLst>
              <a:ext uri="{FF2B5EF4-FFF2-40B4-BE49-F238E27FC236}">
                <a16:creationId xmlns:a16="http://schemas.microsoft.com/office/drawing/2014/main" id="{AC3D3958-842B-B30C-1F63-D623591F7D6C}"/>
              </a:ext>
            </a:extLst>
          </p:cNvPr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10467734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185AA623-674F-A973-6E18-2FFFFE0375A0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932848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E2EBD53E-F3A3-DBAA-2F1A-5358B448A65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932848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CA1E84C5-21EB-CB3B-2366-924CF2418F6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359866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7A2BB77D-BE73-A95B-9A81-B0901ED51A7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359866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0E537FAA-2BFF-EC9F-5EC3-7D5C5546EC1C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4786884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9B7EC7B2-13EA-7269-0E64-1645E388968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786884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55D0AD31-CEB6-57EB-419E-3C4BF0F8AE4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158485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147589C2-3A4F-B54A-9CB3-E62CDE64182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158485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63408816-0EF0-A98E-B3FE-2A9C3089154D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599358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6AD2BE2-E8BC-8BEC-F544-079D0CC90DBA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7599358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EFE37B27-BAD3-1165-BF9E-60DD2E04419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054085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AA58134C-CBB3-9E00-C5C2-6D243F7713E1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9054085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ED0CB7B1-6B86-1413-DA04-636E452C026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453394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6F3B57D6-272F-FB23-D1D1-C68C2096E8B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0453394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</p:spTree>
    <p:extLst>
      <p:ext uri="{BB962C8B-B14F-4D97-AF65-F5344CB8AC3E}">
        <p14:creationId xmlns:p14="http://schemas.microsoft.com/office/powerpoint/2010/main" val="212970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7E2FD-8D54-3D4D-882D-0BAF07B84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20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78B02572-80B5-2A40-A464-6313F73647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749B1025-B730-4015-B2FE-E6F3A1940971}"/>
              </a:ext>
            </a:extLst>
          </p:cNvPr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EF3BE0-4756-EF41-820F-212F77F8734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3143608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CEAFB1-ADDD-1F45-8B90-FAFE4BEC62D4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3318348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AC7D3AE0-71A5-49E7-A888-B2EA429DBB19}"/>
              </a:ext>
            </a:extLst>
          </p:cNvPr>
          <p:cNvSpPr>
            <a:spLocks noGrp="1"/>
          </p:cNvSpPr>
          <p:nvPr>
            <p:ph type="pic" sz="quarter" idx="5" hasCustomPrompt="1"/>
          </p:nvPr>
        </p:nvSpPr>
        <p:spPr>
          <a:xfrm>
            <a:off x="1655567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53AC012-39E5-EF4E-BD0C-4F5D6CBFEAD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1664816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04B007F-A5E7-0949-A9BC-E8F139D45E38}"/>
              </a:ext>
            </a:extLst>
          </p:cNvPr>
          <p:cNvSpPr>
            <a:spLocks noGrp="1"/>
          </p:cNvSpPr>
          <p:nvPr>
            <p:ph type="body" sz="quarter" idx="7" hasCustomPrompt="1"/>
          </p:nvPr>
        </p:nvSpPr>
        <p:spPr>
          <a:xfrm>
            <a:off x="1664816" y="3318348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>
            <a:extLst>
              <a:ext uri="{FF2B5EF4-FFF2-40B4-BE49-F238E27FC236}">
                <a16:creationId xmlns:a16="http://schemas.microsoft.com/office/drawing/2014/main" id="{E4C881EB-0078-42CE-B709-06C8435799A0}"/>
              </a:ext>
            </a:extLst>
          </p:cNvPr>
          <p:cNvSpPr>
            <a:spLocks noGrp="1"/>
          </p:cNvSpPr>
          <p:nvPr>
            <p:ph type="pic" sz="quarter" idx="8" hasCustomPrompt="1"/>
          </p:nvPr>
        </p:nvSpPr>
        <p:spPr>
          <a:xfrm>
            <a:off x="2777594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85D1D06-4F2D-BC4B-96E4-3450B34DC210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2784722" y="3143608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F0DE310-1639-2248-880E-3A14FB0C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8808" y="3318348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>
            <a:extLst>
              <a:ext uri="{FF2B5EF4-FFF2-40B4-BE49-F238E27FC236}">
                <a16:creationId xmlns:a16="http://schemas.microsoft.com/office/drawing/2014/main" id="{AE492F63-6542-4D0B-88FE-694B4E432F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99621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2F08EEAE-17B1-5547-99C5-42572772A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0227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F29F5719-8CD4-6F44-9FAD-89EC324C47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1347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>
            <a:extLst>
              <a:ext uri="{FF2B5EF4-FFF2-40B4-BE49-F238E27FC236}">
                <a16:creationId xmlns:a16="http://schemas.microsoft.com/office/drawing/2014/main" id="{01671AFD-E8F7-4C51-9107-C5D8593804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1648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68722A0D-E53E-6647-A803-E3DD7AF90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478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EF502C1F-555C-F541-9D1E-792BF43C1E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4076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>
            <a:extLst>
              <a:ext uri="{FF2B5EF4-FFF2-40B4-BE49-F238E27FC236}">
                <a16:creationId xmlns:a16="http://schemas.microsoft.com/office/drawing/2014/main" id="{C34A2E17-4423-4EEB-9F78-CA495416C9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43676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598AB1E4-A06F-E742-B405-340EF4698A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729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B33549-9554-2A4C-AAF9-49F94D1E54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6806" y="3318348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>
            <a:extLst>
              <a:ext uri="{FF2B5EF4-FFF2-40B4-BE49-F238E27FC236}">
                <a16:creationId xmlns:a16="http://schemas.microsoft.com/office/drawing/2014/main" id="{21CA9357-4B3D-4FAB-8F0E-88B3B140A6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65703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>
            <a:extLst>
              <a:ext uri="{FF2B5EF4-FFF2-40B4-BE49-F238E27FC236}">
                <a16:creationId xmlns:a16="http://schemas.microsoft.com/office/drawing/2014/main" id="{AD65AA34-D580-2244-B02A-493A1DE05A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6980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D3D4987E-2A3F-0042-A688-243F1B0AE2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69344" y="3318348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7FCC50B2-15FE-46CE-AD14-DE5B6AAAFB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387730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693D354-0B74-2E41-83FB-52557CA0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9231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>
            <a:extLst>
              <a:ext uri="{FF2B5EF4-FFF2-40B4-BE49-F238E27FC236}">
                <a16:creationId xmlns:a16="http://schemas.microsoft.com/office/drawing/2014/main" id="{04377E61-84F3-C64C-9007-D2C822AAB3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91882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8" name="Picture Placeholder 27">
            <a:extLst>
              <a:ext uri="{FF2B5EF4-FFF2-40B4-BE49-F238E27FC236}">
                <a16:creationId xmlns:a16="http://schemas.microsoft.com/office/drawing/2014/main" id="{305CC6DA-A1CD-495C-ADFC-C16B4826D31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09757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11500CF2-EDEC-964B-8AC6-C04FF4BBD9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14829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9">
            <a:extLst>
              <a:ext uri="{FF2B5EF4-FFF2-40B4-BE49-F238E27FC236}">
                <a16:creationId xmlns:a16="http://schemas.microsoft.com/office/drawing/2014/main" id="{4D98955F-4393-C74B-8823-8A7DC9A260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14612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9" name="Picture Placeholder 30">
            <a:extLst>
              <a:ext uri="{FF2B5EF4-FFF2-40B4-BE49-F238E27FC236}">
                <a16:creationId xmlns:a16="http://schemas.microsoft.com/office/drawing/2014/main" id="{CA38E8C6-61C7-47E6-88B0-5ECE3EF79CD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631785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23D7CBDD-52E8-2947-8A55-1930B5D4ED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3733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32">
            <a:extLst>
              <a:ext uri="{FF2B5EF4-FFF2-40B4-BE49-F238E27FC236}">
                <a16:creationId xmlns:a16="http://schemas.microsoft.com/office/drawing/2014/main" id="{A5CF3525-6ECA-F04E-9C5C-523C017231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637337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9" name="Picture Placeholder 33">
            <a:extLst>
              <a:ext uri="{FF2B5EF4-FFF2-40B4-BE49-F238E27FC236}">
                <a16:creationId xmlns:a16="http://schemas.microsoft.com/office/drawing/2014/main" id="{D8E8B2F0-3427-4249-92A8-BC10BF2C0DA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3540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>
            <a:extLst>
              <a:ext uri="{FF2B5EF4-FFF2-40B4-BE49-F238E27FC236}">
                <a16:creationId xmlns:a16="http://schemas.microsoft.com/office/drawing/2014/main" id="{5D488343-1C9B-8846-864D-B5D2F55504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5120046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5B3581A1-098D-2644-BAC1-0EB031DCE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5300709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>
            <a:extLst>
              <a:ext uri="{FF2B5EF4-FFF2-40B4-BE49-F238E27FC236}">
                <a16:creationId xmlns:a16="http://schemas.microsoft.com/office/drawing/2014/main" id="{FD0DE7C5-E7E1-4D77-8DE1-C3CAFF78A34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655567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B33A7E8C-A66B-E74A-953B-F286AD544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64816" y="5120046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>
            <a:extLst>
              <a:ext uri="{FF2B5EF4-FFF2-40B4-BE49-F238E27FC236}">
                <a16:creationId xmlns:a16="http://schemas.microsoft.com/office/drawing/2014/main" id="{F9D81019-5E2D-A748-9B24-E2A7F1F743B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64816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>
            <a:extLst>
              <a:ext uri="{FF2B5EF4-FFF2-40B4-BE49-F238E27FC236}">
                <a16:creationId xmlns:a16="http://schemas.microsoft.com/office/drawing/2014/main" id="{20A58B36-A69A-40E7-ADD3-4909472DD9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777594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4CC018BE-7641-0646-B57C-BC2AE363ED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783473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B0692339-316F-9A4B-9971-062A5301EC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83599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>
            <a:extLst>
              <a:ext uri="{FF2B5EF4-FFF2-40B4-BE49-F238E27FC236}">
                <a16:creationId xmlns:a16="http://schemas.microsoft.com/office/drawing/2014/main" id="{020CC3CF-67D8-4937-82F6-11286A74AB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899621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>
            <a:extLst>
              <a:ext uri="{FF2B5EF4-FFF2-40B4-BE49-F238E27FC236}">
                <a16:creationId xmlns:a16="http://schemas.microsoft.com/office/drawing/2014/main" id="{F2E79B80-B6F7-964E-BF89-9B351CA3A5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905454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>
            <a:extLst>
              <a:ext uri="{FF2B5EF4-FFF2-40B4-BE49-F238E27FC236}">
                <a16:creationId xmlns:a16="http://schemas.microsoft.com/office/drawing/2014/main" id="{F018D580-A2E3-924D-8EED-2B8A99A742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905453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>
            <a:extLst>
              <a:ext uri="{FF2B5EF4-FFF2-40B4-BE49-F238E27FC236}">
                <a16:creationId xmlns:a16="http://schemas.microsoft.com/office/drawing/2014/main" id="{EDD9EC45-27D2-4B9B-9C75-652FE4BA215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021648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>
            <a:extLst>
              <a:ext uri="{FF2B5EF4-FFF2-40B4-BE49-F238E27FC236}">
                <a16:creationId xmlns:a16="http://schemas.microsoft.com/office/drawing/2014/main" id="{1A62BD44-EEB9-7F49-9B7D-9479E19CFC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27435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>
            <a:extLst>
              <a:ext uri="{FF2B5EF4-FFF2-40B4-BE49-F238E27FC236}">
                <a16:creationId xmlns:a16="http://schemas.microsoft.com/office/drawing/2014/main" id="{5249C6DD-3F23-104A-B449-50789EB136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27497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>
            <a:extLst>
              <a:ext uri="{FF2B5EF4-FFF2-40B4-BE49-F238E27FC236}">
                <a16:creationId xmlns:a16="http://schemas.microsoft.com/office/drawing/2014/main" id="{5AFFAB2C-92CF-49EE-8373-A236E316A2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143676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>
            <a:extLst>
              <a:ext uri="{FF2B5EF4-FFF2-40B4-BE49-F238E27FC236}">
                <a16:creationId xmlns:a16="http://schemas.microsoft.com/office/drawing/2014/main" id="{1AC925DE-2FDE-644C-AF59-4745169355D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49416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>
            <a:extLst>
              <a:ext uri="{FF2B5EF4-FFF2-40B4-BE49-F238E27FC236}">
                <a16:creationId xmlns:a16="http://schemas.microsoft.com/office/drawing/2014/main" id="{D91302CC-55A1-9C41-A7B9-67674B810B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49351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>
            <a:extLst>
              <a:ext uri="{FF2B5EF4-FFF2-40B4-BE49-F238E27FC236}">
                <a16:creationId xmlns:a16="http://schemas.microsoft.com/office/drawing/2014/main" id="{D3E8AD6B-347A-4B27-945E-B94043FB97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65703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>
            <a:extLst>
              <a:ext uri="{FF2B5EF4-FFF2-40B4-BE49-F238E27FC236}">
                <a16:creationId xmlns:a16="http://schemas.microsoft.com/office/drawing/2014/main" id="{A23D44C8-4B1E-E24B-8DCF-D96526CCF6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71397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>
            <a:extLst>
              <a:ext uri="{FF2B5EF4-FFF2-40B4-BE49-F238E27FC236}">
                <a16:creationId xmlns:a16="http://schemas.microsoft.com/office/drawing/2014/main" id="{E1D50DAE-A829-8D4D-AFCB-5CE06521A1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71395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>
            <a:extLst>
              <a:ext uri="{FF2B5EF4-FFF2-40B4-BE49-F238E27FC236}">
                <a16:creationId xmlns:a16="http://schemas.microsoft.com/office/drawing/2014/main" id="{EF08F3FA-A172-484A-B0CD-37129E97EF8F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387730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>
            <a:extLst>
              <a:ext uri="{FF2B5EF4-FFF2-40B4-BE49-F238E27FC236}">
                <a16:creationId xmlns:a16="http://schemas.microsoft.com/office/drawing/2014/main" id="{01FD1131-5693-0D49-9013-E90201A129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93379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>
            <a:extLst>
              <a:ext uri="{FF2B5EF4-FFF2-40B4-BE49-F238E27FC236}">
                <a16:creationId xmlns:a16="http://schemas.microsoft.com/office/drawing/2014/main" id="{F461921F-1961-DC48-B41F-1EF39947A2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393440" y="5300709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7" name="Picture Placeholder 57">
            <a:extLst>
              <a:ext uri="{FF2B5EF4-FFF2-40B4-BE49-F238E27FC236}">
                <a16:creationId xmlns:a16="http://schemas.microsoft.com/office/drawing/2014/main" id="{3624940F-A7AD-4613-B22C-DC38FF709F99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509757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8" name="Text Placeholder 58">
            <a:extLst>
              <a:ext uri="{FF2B5EF4-FFF2-40B4-BE49-F238E27FC236}">
                <a16:creationId xmlns:a16="http://schemas.microsoft.com/office/drawing/2014/main" id="{63B389AB-56F9-D244-98EE-AC185A39DB5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15360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72" name="Text Placeholder 59">
            <a:extLst>
              <a:ext uri="{FF2B5EF4-FFF2-40B4-BE49-F238E27FC236}">
                <a16:creationId xmlns:a16="http://schemas.microsoft.com/office/drawing/2014/main" id="{37DF0B59-D77B-4C49-86A0-BDFBAAF1ABE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515293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8" name="Picture Placeholder 60">
            <a:extLst>
              <a:ext uri="{FF2B5EF4-FFF2-40B4-BE49-F238E27FC236}">
                <a16:creationId xmlns:a16="http://schemas.microsoft.com/office/drawing/2014/main" id="{CE84054F-B4A8-4445-9EAA-80858C421F52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631785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0" name="Text Placeholder 61">
            <a:extLst>
              <a:ext uri="{FF2B5EF4-FFF2-40B4-BE49-F238E27FC236}">
                <a16:creationId xmlns:a16="http://schemas.microsoft.com/office/drawing/2014/main" id="{F7B5C705-9535-E74A-8413-EF6BB7539C3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637337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8" name="Text Placeholder 62">
            <a:extLst>
              <a:ext uri="{FF2B5EF4-FFF2-40B4-BE49-F238E27FC236}">
                <a16:creationId xmlns:a16="http://schemas.microsoft.com/office/drawing/2014/main" id="{652329CC-C86A-F64B-B753-EC605EB071C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637337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F9F2B-CC6C-9D3F-2747-D4BF19A582E7}"/>
              </a:ext>
            </a:extLst>
          </p:cNvPr>
          <p:cNvSpPr>
            <a:spLocks noGrp="1"/>
          </p:cNvSpPr>
          <p:nvPr>
            <p:ph type="dt" sz="half" idx="62"/>
          </p:nvPr>
        </p:nvSpPr>
        <p:spPr>
          <a:noFill/>
        </p:spPr>
        <p:txBody>
          <a:bodyPr>
            <a:noAutofit/>
          </a:bodyPr>
          <a:lstStyle/>
          <a:p>
            <a:fld id="{15B86EF9-E3A3-EF42-8C86-C3D8E3975248}" type="datetime3">
              <a:rPr lang="en-US" smtClean="0"/>
              <a:t>31 March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5E24A-825B-BA20-8933-782BD27BFAFC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noFill/>
        </p:spPr>
        <p:txBody>
          <a:bodyPr>
            <a:noAutofit/>
          </a:bodyPr>
          <a:lstStyle/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EE7EE-6911-FC7C-35B8-2043F40C561A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noFill/>
        </p:spPr>
        <p:txBody>
          <a:bodyPr>
            <a:noAutofit/>
          </a:bodyPr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6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7E2FD-8D54-3D4D-882D-0BAF07B84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24</a:t>
            </a:r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749B1025-B730-4015-B2FE-E6F3A1940971}"/>
              </a:ext>
            </a:extLst>
          </p:cNvPr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EF3BE0-4756-EF41-820F-212F77F8734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274114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CEAFB1-ADDD-1F45-8B90-FAFE4BEC62D4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2890764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AC7D3AE0-71A5-49E7-A888-B2EA429DBB19}"/>
              </a:ext>
            </a:extLst>
          </p:cNvPr>
          <p:cNvSpPr>
            <a:spLocks noGrp="1"/>
          </p:cNvSpPr>
          <p:nvPr>
            <p:ph type="pic" sz="quarter" idx="5" hasCustomPrompt="1"/>
          </p:nvPr>
        </p:nvSpPr>
        <p:spPr>
          <a:xfrm>
            <a:off x="1981996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53AC012-39E5-EF4E-BD0C-4F5D6CBFEAD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1991245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04B007F-A5E7-0949-A9BC-E8F139D45E38}"/>
              </a:ext>
            </a:extLst>
          </p:cNvPr>
          <p:cNvSpPr>
            <a:spLocks noGrp="1"/>
          </p:cNvSpPr>
          <p:nvPr>
            <p:ph type="body" sz="quarter" idx="7" hasCustomPrompt="1"/>
          </p:nvPr>
        </p:nvSpPr>
        <p:spPr>
          <a:xfrm>
            <a:off x="1991245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>
            <a:extLst>
              <a:ext uri="{FF2B5EF4-FFF2-40B4-BE49-F238E27FC236}">
                <a16:creationId xmlns:a16="http://schemas.microsoft.com/office/drawing/2014/main" id="{E4C881EB-0078-42CE-B709-06C8435799A0}"/>
              </a:ext>
            </a:extLst>
          </p:cNvPr>
          <p:cNvSpPr>
            <a:spLocks noGrp="1"/>
          </p:cNvSpPr>
          <p:nvPr>
            <p:ph type="pic" sz="quarter" idx="8" hasCustomPrompt="1"/>
          </p:nvPr>
        </p:nvSpPr>
        <p:spPr>
          <a:xfrm>
            <a:off x="3424764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85D1D06-4F2D-BC4B-96E4-3450B34DC210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3431892" y="2741144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F0DE310-1639-2248-880E-3A14FB0C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5978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>
            <a:extLst>
              <a:ext uri="{FF2B5EF4-FFF2-40B4-BE49-F238E27FC236}">
                <a16:creationId xmlns:a16="http://schemas.microsoft.com/office/drawing/2014/main" id="{AE492F63-6542-4D0B-88FE-694B4E432F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53542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2F08EEAE-17B1-5547-99C5-42572772A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619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F29F5719-8CD4-6F44-9FAD-89EC324C47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268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>
            <a:extLst>
              <a:ext uri="{FF2B5EF4-FFF2-40B4-BE49-F238E27FC236}">
                <a16:creationId xmlns:a16="http://schemas.microsoft.com/office/drawing/2014/main" id="{01671AFD-E8F7-4C51-9107-C5D8593804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2637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68722A0D-E53E-6647-A803-E3DD7AF90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95776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EF502C1F-555C-F541-9D1E-792BF43C1E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5065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>
            <a:extLst>
              <a:ext uri="{FF2B5EF4-FFF2-40B4-BE49-F238E27FC236}">
                <a16:creationId xmlns:a16="http://schemas.microsoft.com/office/drawing/2014/main" id="{C34A2E17-4423-4EEB-9F78-CA495416C9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46045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598AB1E4-A06F-E742-B405-340EF4698A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4966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B33549-9554-2A4C-AAF9-49F94D1E54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49175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>
            <a:extLst>
              <a:ext uri="{FF2B5EF4-FFF2-40B4-BE49-F238E27FC236}">
                <a16:creationId xmlns:a16="http://schemas.microsoft.com/office/drawing/2014/main" id="{21CA9357-4B3D-4FAB-8F0E-88B3B140A6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82273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>
            <a:extLst>
              <a:ext uri="{FF2B5EF4-FFF2-40B4-BE49-F238E27FC236}">
                <a16:creationId xmlns:a16="http://schemas.microsoft.com/office/drawing/2014/main" id="{AD65AA34-D580-2244-B02A-493A1DE05A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8637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D3D4987E-2A3F-0042-A688-243F1B0AE2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85914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7FCC50B2-15FE-46CE-AD14-DE5B6AAAFB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623183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693D354-0B74-2E41-83FB-52557CA0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27771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>
            <a:extLst>
              <a:ext uri="{FF2B5EF4-FFF2-40B4-BE49-F238E27FC236}">
                <a16:creationId xmlns:a16="http://schemas.microsoft.com/office/drawing/2014/main" id="{04377E61-84F3-C64C-9007-D2C822AAB3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627335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99" name="Picture Placeholder 33">
            <a:extLst>
              <a:ext uri="{FF2B5EF4-FFF2-40B4-BE49-F238E27FC236}">
                <a16:creationId xmlns:a16="http://schemas.microsoft.com/office/drawing/2014/main" id="{D8E8B2F0-3427-4249-92A8-BC10BF2C0DA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3539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>
            <a:extLst>
              <a:ext uri="{FF2B5EF4-FFF2-40B4-BE49-F238E27FC236}">
                <a16:creationId xmlns:a16="http://schemas.microsoft.com/office/drawing/2014/main" id="{5D488343-1C9B-8846-864D-B5D2F55504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4328121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5B3581A1-098D-2644-BAC1-0EB031DCE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448366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>
            <a:extLst>
              <a:ext uri="{FF2B5EF4-FFF2-40B4-BE49-F238E27FC236}">
                <a16:creationId xmlns:a16="http://schemas.microsoft.com/office/drawing/2014/main" id="{FD0DE7C5-E7E1-4D77-8DE1-C3CAFF78A34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981995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B33A7E8C-A66B-E74A-953B-F286AD544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91245" y="4328121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>
            <a:extLst>
              <a:ext uri="{FF2B5EF4-FFF2-40B4-BE49-F238E27FC236}">
                <a16:creationId xmlns:a16="http://schemas.microsoft.com/office/drawing/2014/main" id="{F9D81019-5E2D-A748-9B24-E2A7F1F743B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91245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>
            <a:extLst>
              <a:ext uri="{FF2B5EF4-FFF2-40B4-BE49-F238E27FC236}">
                <a16:creationId xmlns:a16="http://schemas.microsoft.com/office/drawing/2014/main" id="{20A58B36-A69A-40E7-ADD3-4909472DD9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24763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4CC018BE-7641-0646-B57C-BC2AE363ED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30643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B0692339-316F-9A4B-9971-062A5301EC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30769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>
            <a:extLst>
              <a:ext uri="{FF2B5EF4-FFF2-40B4-BE49-F238E27FC236}">
                <a16:creationId xmlns:a16="http://schemas.microsoft.com/office/drawing/2014/main" id="{020CC3CF-67D8-4937-82F6-11286A74AB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853541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>
            <a:extLst>
              <a:ext uri="{FF2B5EF4-FFF2-40B4-BE49-F238E27FC236}">
                <a16:creationId xmlns:a16="http://schemas.microsoft.com/office/drawing/2014/main" id="{F2E79B80-B6F7-964E-BF89-9B351CA3A5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859375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>
            <a:extLst>
              <a:ext uri="{FF2B5EF4-FFF2-40B4-BE49-F238E27FC236}">
                <a16:creationId xmlns:a16="http://schemas.microsoft.com/office/drawing/2014/main" id="{F018D580-A2E3-924D-8EED-2B8A99A742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859374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>
            <a:extLst>
              <a:ext uri="{FF2B5EF4-FFF2-40B4-BE49-F238E27FC236}">
                <a16:creationId xmlns:a16="http://schemas.microsoft.com/office/drawing/2014/main" id="{EDD9EC45-27D2-4B9B-9C75-652FE4BA215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2636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>
            <a:extLst>
              <a:ext uri="{FF2B5EF4-FFF2-40B4-BE49-F238E27FC236}">
                <a16:creationId xmlns:a16="http://schemas.microsoft.com/office/drawing/2014/main" id="{1A62BD44-EEB9-7F49-9B7D-9479E19CFC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98424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>
            <a:extLst>
              <a:ext uri="{FF2B5EF4-FFF2-40B4-BE49-F238E27FC236}">
                <a16:creationId xmlns:a16="http://schemas.microsoft.com/office/drawing/2014/main" id="{5249C6DD-3F23-104A-B449-50789EB136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298486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>
            <a:extLst>
              <a:ext uri="{FF2B5EF4-FFF2-40B4-BE49-F238E27FC236}">
                <a16:creationId xmlns:a16="http://schemas.microsoft.com/office/drawing/2014/main" id="{5AFFAB2C-92CF-49EE-8373-A236E316A2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7746044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>
            <a:extLst>
              <a:ext uri="{FF2B5EF4-FFF2-40B4-BE49-F238E27FC236}">
                <a16:creationId xmlns:a16="http://schemas.microsoft.com/office/drawing/2014/main" id="{1AC925DE-2FDE-644C-AF59-4745169355D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751785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>
            <a:extLst>
              <a:ext uri="{FF2B5EF4-FFF2-40B4-BE49-F238E27FC236}">
                <a16:creationId xmlns:a16="http://schemas.microsoft.com/office/drawing/2014/main" id="{D91302CC-55A1-9C41-A7B9-67674B810B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751720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>
            <a:extLst>
              <a:ext uri="{FF2B5EF4-FFF2-40B4-BE49-F238E27FC236}">
                <a16:creationId xmlns:a16="http://schemas.microsoft.com/office/drawing/2014/main" id="{D3E8AD6B-347A-4B27-945E-B94043FB97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182272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>
            <a:extLst>
              <a:ext uri="{FF2B5EF4-FFF2-40B4-BE49-F238E27FC236}">
                <a16:creationId xmlns:a16="http://schemas.microsoft.com/office/drawing/2014/main" id="{A23D44C8-4B1E-E24B-8DCF-D96526CCF6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87967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>
            <a:extLst>
              <a:ext uri="{FF2B5EF4-FFF2-40B4-BE49-F238E27FC236}">
                <a16:creationId xmlns:a16="http://schemas.microsoft.com/office/drawing/2014/main" id="{E1D50DAE-A829-8D4D-AFCB-5CE06521A1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187965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>
            <a:extLst>
              <a:ext uri="{FF2B5EF4-FFF2-40B4-BE49-F238E27FC236}">
                <a16:creationId xmlns:a16="http://schemas.microsoft.com/office/drawing/2014/main" id="{EF08F3FA-A172-484A-B0CD-37129E97EF8F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623182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>
            <a:extLst>
              <a:ext uri="{FF2B5EF4-FFF2-40B4-BE49-F238E27FC236}">
                <a16:creationId xmlns:a16="http://schemas.microsoft.com/office/drawing/2014/main" id="{01FD1131-5693-0D49-9013-E90201A129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628832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>
            <a:extLst>
              <a:ext uri="{FF2B5EF4-FFF2-40B4-BE49-F238E27FC236}">
                <a16:creationId xmlns:a16="http://schemas.microsoft.com/office/drawing/2014/main" id="{F461921F-1961-DC48-B41F-1EF39947A2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628893" y="44836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F9F2B-CC6C-9D3F-2747-D4BF19A582E7}"/>
              </a:ext>
            </a:extLst>
          </p:cNvPr>
          <p:cNvSpPr>
            <a:spLocks noGrp="1"/>
          </p:cNvSpPr>
          <p:nvPr>
            <p:ph type="dt" sz="half" idx="62"/>
          </p:nvPr>
        </p:nvSpPr>
        <p:spPr>
          <a:noFill/>
        </p:spPr>
        <p:txBody>
          <a:bodyPr>
            <a:noAutofit/>
          </a:bodyPr>
          <a:lstStyle/>
          <a:p>
            <a:fld id="{92AA5973-DBE5-1845-9139-D9C3F9F5A9D7}" type="datetime3">
              <a:rPr lang="en-US" smtClean="0"/>
              <a:t>31 March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5E24A-825B-BA20-8933-782BD27BFAFC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noFill/>
        </p:spPr>
        <p:txBody>
          <a:bodyPr>
            <a:noAutofit/>
          </a:bodyPr>
          <a:lstStyle/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EE7EE-6911-FC7C-35B8-2043F40C561A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noFill/>
        </p:spPr>
        <p:txBody>
          <a:bodyPr>
            <a:noAutofit/>
          </a:bodyPr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33">
            <a:extLst>
              <a:ext uri="{FF2B5EF4-FFF2-40B4-BE49-F238E27FC236}">
                <a16:creationId xmlns:a16="http://schemas.microsoft.com/office/drawing/2014/main" id="{F41D7878-8723-1DAE-E07C-413B0E3F9CDF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33540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F8707395-9612-4DD0-6BE2-66A33540632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42458" y="5927557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91DDB01F-D125-9A24-A865-43DA4979E15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2458" y="6083100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1" name="Picture Placeholder 36">
            <a:extLst>
              <a:ext uri="{FF2B5EF4-FFF2-40B4-BE49-F238E27FC236}">
                <a16:creationId xmlns:a16="http://schemas.microsoft.com/office/drawing/2014/main" id="{E39EB324-7757-1E1E-E23E-DCF4C3F333E5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1981996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B1B18D6E-3412-0713-D141-33F52580996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991245" y="592755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6418F035-0E29-3103-7171-53C6DF5EC74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991245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39">
            <a:extLst>
              <a:ext uri="{FF2B5EF4-FFF2-40B4-BE49-F238E27FC236}">
                <a16:creationId xmlns:a16="http://schemas.microsoft.com/office/drawing/2014/main" id="{C92F57C7-6F61-BFC9-379E-622CFAB3F8E4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3424764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7" name="Text Placeholder 40">
            <a:extLst>
              <a:ext uri="{FF2B5EF4-FFF2-40B4-BE49-F238E27FC236}">
                <a16:creationId xmlns:a16="http://schemas.microsoft.com/office/drawing/2014/main" id="{20EDACDA-AEA6-FBE3-EAF8-94F016B68F3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430643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DDCA69C9-B196-AB1E-5A30-9D3520825A7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430769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0" name="Picture Placeholder 42">
            <a:extLst>
              <a:ext uri="{FF2B5EF4-FFF2-40B4-BE49-F238E27FC236}">
                <a16:creationId xmlns:a16="http://schemas.microsoft.com/office/drawing/2014/main" id="{B63777F4-516D-AB76-D090-4F3459E39ED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4853542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Text Placeholder 43">
            <a:extLst>
              <a:ext uri="{FF2B5EF4-FFF2-40B4-BE49-F238E27FC236}">
                <a16:creationId xmlns:a16="http://schemas.microsoft.com/office/drawing/2014/main" id="{BFE3EB8B-617F-9091-1873-147F5622AC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859375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3" name="Text Placeholder 44">
            <a:extLst>
              <a:ext uri="{FF2B5EF4-FFF2-40B4-BE49-F238E27FC236}">
                <a16:creationId xmlns:a16="http://schemas.microsoft.com/office/drawing/2014/main" id="{683A22C1-467E-AB6D-3953-8DFAF960286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859374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4" name="Picture Placeholder 45">
            <a:extLst>
              <a:ext uri="{FF2B5EF4-FFF2-40B4-BE49-F238E27FC236}">
                <a16:creationId xmlns:a16="http://schemas.microsoft.com/office/drawing/2014/main" id="{F37516B9-6F78-1EB4-6960-1B72CDA807A7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6292637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6" name="Text Placeholder 46">
            <a:extLst>
              <a:ext uri="{FF2B5EF4-FFF2-40B4-BE49-F238E27FC236}">
                <a16:creationId xmlns:a16="http://schemas.microsoft.com/office/drawing/2014/main" id="{803B6579-59D0-0985-0B0D-8B7EC00F984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298424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8" name="Text Placeholder 47">
            <a:extLst>
              <a:ext uri="{FF2B5EF4-FFF2-40B4-BE49-F238E27FC236}">
                <a16:creationId xmlns:a16="http://schemas.microsoft.com/office/drawing/2014/main" id="{319481EE-8A02-29FC-54F1-94D40DE03ED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298486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9" name="Picture Placeholder 48">
            <a:extLst>
              <a:ext uri="{FF2B5EF4-FFF2-40B4-BE49-F238E27FC236}">
                <a16:creationId xmlns:a16="http://schemas.microsoft.com/office/drawing/2014/main" id="{5D7A3062-9B59-8915-36FA-211E1FE9B99D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7746045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49">
            <a:extLst>
              <a:ext uri="{FF2B5EF4-FFF2-40B4-BE49-F238E27FC236}">
                <a16:creationId xmlns:a16="http://schemas.microsoft.com/office/drawing/2014/main" id="{78ED2E27-EA25-6133-56E3-014F0F15F21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751785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50">
            <a:extLst>
              <a:ext uri="{FF2B5EF4-FFF2-40B4-BE49-F238E27FC236}">
                <a16:creationId xmlns:a16="http://schemas.microsoft.com/office/drawing/2014/main" id="{4979941B-236A-6116-5582-9FF51C08EBB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751720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51">
            <a:extLst>
              <a:ext uri="{FF2B5EF4-FFF2-40B4-BE49-F238E27FC236}">
                <a16:creationId xmlns:a16="http://schemas.microsoft.com/office/drawing/2014/main" id="{0112C561-5C62-B386-469A-BCBE6E56D72E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9182273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5" name="Text Placeholder 52">
            <a:extLst>
              <a:ext uri="{FF2B5EF4-FFF2-40B4-BE49-F238E27FC236}">
                <a16:creationId xmlns:a16="http://schemas.microsoft.com/office/drawing/2014/main" id="{89E7801A-C362-8DA5-6D73-106EF460AED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187967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6" name="Text Placeholder 53">
            <a:extLst>
              <a:ext uri="{FF2B5EF4-FFF2-40B4-BE49-F238E27FC236}">
                <a16:creationId xmlns:a16="http://schemas.microsoft.com/office/drawing/2014/main" id="{574972F6-364A-3958-E1C4-BB7DF1276BF1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187965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8" name="Picture Placeholder 54">
            <a:extLst>
              <a:ext uri="{FF2B5EF4-FFF2-40B4-BE49-F238E27FC236}">
                <a16:creationId xmlns:a16="http://schemas.microsoft.com/office/drawing/2014/main" id="{76C97810-A576-D88E-4DD3-3EBD4DE6A421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10623183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Text Placeholder 55">
            <a:extLst>
              <a:ext uri="{FF2B5EF4-FFF2-40B4-BE49-F238E27FC236}">
                <a16:creationId xmlns:a16="http://schemas.microsoft.com/office/drawing/2014/main" id="{1CA00D4B-6F8D-7D1E-7726-10A20A07FFA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0628832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1" name="Text Placeholder 56">
            <a:extLst>
              <a:ext uri="{FF2B5EF4-FFF2-40B4-BE49-F238E27FC236}">
                <a16:creationId xmlns:a16="http://schemas.microsoft.com/office/drawing/2014/main" id="{46DBF793-38AB-990A-1E15-6E7FA502C0D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628893" y="6083100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CE63076-4FFF-6E4A-2BA8-4276D428BCEB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55556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8">
          <p15:clr>
            <a:srgbClr val="FBAE40"/>
          </p15:clr>
        </p15:guide>
        <p15:guide id="2" orient="horz" pos="1691">
          <p15:clr>
            <a:srgbClr val="FBAE40"/>
          </p15:clr>
        </p15:guide>
        <p15:guide id="5" orient="horz" pos="1726">
          <p15:clr>
            <a:srgbClr val="FBAE40"/>
          </p15:clr>
        </p15:guide>
        <p15:guide id="6" orient="horz" pos="1823">
          <p15:clr>
            <a:srgbClr val="FBAE40"/>
          </p15:clr>
        </p15:guide>
        <p15:guide id="8" orient="horz" pos="1820">
          <p15:clr>
            <a:srgbClr val="FBAE40"/>
          </p15:clr>
        </p15:guide>
        <p15:guide id="9" orient="horz" pos="1917">
          <p15:clr>
            <a:srgbClr val="FBAE40"/>
          </p15:clr>
        </p15:guide>
        <p15:guide id="11" orient="horz" pos="2098">
          <p15:clr>
            <a:srgbClr val="FBAE40"/>
          </p15:clr>
        </p15:guide>
        <p15:guide id="12" orient="horz" pos="2732">
          <p15:clr>
            <a:srgbClr val="FBAE40"/>
          </p15:clr>
        </p15:guide>
        <p15:guide id="14" orient="horz" pos="2774">
          <p15:clr>
            <a:srgbClr val="FBAE40"/>
          </p15:clr>
        </p15:guide>
        <p15:guide id="15" orient="horz" pos="2871">
          <p15:clr>
            <a:srgbClr val="FBAE40"/>
          </p15:clr>
        </p15:guide>
        <p15:guide id="17" orient="horz" pos="2872">
          <p15:clr>
            <a:srgbClr val="FBAE40"/>
          </p15:clr>
        </p15:guide>
        <p15:guide id="18" orient="horz" pos="2969">
          <p15:clr>
            <a:srgbClr val="FBAE40"/>
          </p15:clr>
        </p15:guide>
        <p15:guide id="19" orient="horz" pos="311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7E2FD-8D54-3D4D-882D-0BAF07B84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30</a:t>
            </a:r>
          </a:p>
        </p:txBody>
      </p:sp>
      <p:sp>
        <p:nvSpPr>
          <p:cNvPr id="73" name="Picture Placeholder 3">
            <a:extLst>
              <a:ext uri="{FF2B5EF4-FFF2-40B4-BE49-F238E27FC236}">
                <a16:creationId xmlns:a16="http://schemas.microsoft.com/office/drawing/2014/main" id="{749B1025-B730-4015-B2FE-E6F3A1940971}"/>
              </a:ext>
            </a:extLst>
          </p:cNvPr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EF3BE0-4756-EF41-820F-212F77F8734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274114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CEAFB1-ADDD-1F45-8B90-FAFE4BEC62D4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2890764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AC7D3AE0-71A5-49E7-A888-B2EA429DBB19}"/>
              </a:ext>
            </a:extLst>
          </p:cNvPr>
          <p:cNvSpPr>
            <a:spLocks noGrp="1"/>
          </p:cNvSpPr>
          <p:nvPr>
            <p:ph type="pic" sz="quarter" idx="5" hasCustomPrompt="1"/>
          </p:nvPr>
        </p:nvSpPr>
        <p:spPr>
          <a:xfrm>
            <a:off x="1655567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53AC012-39E5-EF4E-BD0C-4F5D6CBFEAD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1664816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04B007F-A5E7-0949-A9BC-E8F139D45E38}"/>
              </a:ext>
            </a:extLst>
          </p:cNvPr>
          <p:cNvSpPr>
            <a:spLocks noGrp="1"/>
          </p:cNvSpPr>
          <p:nvPr>
            <p:ph type="body" sz="quarter" idx="7" hasCustomPrompt="1"/>
          </p:nvPr>
        </p:nvSpPr>
        <p:spPr>
          <a:xfrm>
            <a:off x="1664816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>
            <a:extLst>
              <a:ext uri="{FF2B5EF4-FFF2-40B4-BE49-F238E27FC236}">
                <a16:creationId xmlns:a16="http://schemas.microsoft.com/office/drawing/2014/main" id="{E4C881EB-0078-42CE-B709-06C8435799A0}"/>
              </a:ext>
            </a:extLst>
          </p:cNvPr>
          <p:cNvSpPr>
            <a:spLocks noGrp="1"/>
          </p:cNvSpPr>
          <p:nvPr>
            <p:ph type="pic" sz="quarter" idx="8" hasCustomPrompt="1"/>
          </p:nvPr>
        </p:nvSpPr>
        <p:spPr>
          <a:xfrm>
            <a:off x="2777594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85D1D06-4F2D-BC4B-96E4-3450B34DC210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2784722" y="2741144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F0DE310-1639-2248-880E-3A14FB0C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8808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>
            <a:extLst>
              <a:ext uri="{FF2B5EF4-FFF2-40B4-BE49-F238E27FC236}">
                <a16:creationId xmlns:a16="http://schemas.microsoft.com/office/drawing/2014/main" id="{AE492F63-6542-4D0B-88FE-694B4E432F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99621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2F08EEAE-17B1-5547-99C5-42572772A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0227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F29F5719-8CD4-6F44-9FAD-89EC324C47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1347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>
            <a:extLst>
              <a:ext uri="{FF2B5EF4-FFF2-40B4-BE49-F238E27FC236}">
                <a16:creationId xmlns:a16="http://schemas.microsoft.com/office/drawing/2014/main" id="{01671AFD-E8F7-4C51-9107-C5D8593804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21648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68722A0D-E53E-6647-A803-E3DD7AF90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478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EF502C1F-555C-F541-9D1E-792BF43C1E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4076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>
            <a:extLst>
              <a:ext uri="{FF2B5EF4-FFF2-40B4-BE49-F238E27FC236}">
                <a16:creationId xmlns:a16="http://schemas.microsoft.com/office/drawing/2014/main" id="{C34A2E17-4423-4EEB-9F78-CA495416C9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43676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598AB1E4-A06F-E742-B405-340EF4698A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729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1FB33549-9554-2A4C-AAF9-49F94D1E54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6806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>
            <a:extLst>
              <a:ext uri="{FF2B5EF4-FFF2-40B4-BE49-F238E27FC236}">
                <a16:creationId xmlns:a16="http://schemas.microsoft.com/office/drawing/2014/main" id="{21CA9357-4B3D-4FAB-8F0E-88B3B140A6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65703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>
            <a:extLst>
              <a:ext uri="{FF2B5EF4-FFF2-40B4-BE49-F238E27FC236}">
                <a16:creationId xmlns:a16="http://schemas.microsoft.com/office/drawing/2014/main" id="{AD65AA34-D580-2244-B02A-493A1DE05A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6980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D3D4987E-2A3F-0042-A688-243F1B0AE2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69344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7FCC50B2-15FE-46CE-AD14-DE5B6AAAFBF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387730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693D354-0B74-2E41-83FB-52557CA0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9231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>
            <a:extLst>
              <a:ext uri="{FF2B5EF4-FFF2-40B4-BE49-F238E27FC236}">
                <a16:creationId xmlns:a16="http://schemas.microsoft.com/office/drawing/2014/main" id="{04377E61-84F3-C64C-9007-D2C822AAB3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91882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8" name="Picture Placeholder 27">
            <a:extLst>
              <a:ext uri="{FF2B5EF4-FFF2-40B4-BE49-F238E27FC236}">
                <a16:creationId xmlns:a16="http://schemas.microsoft.com/office/drawing/2014/main" id="{305CC6DA-A1CD-495C-ADFC-C16B4826D31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09757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11500CF2-EDEC-964B-8AC6-C04FF4BBD9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14829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9">
            <a:extLst>
              <a:ext uri="{FF2B5EF4-FFF2-40B4-BE49-F238E27FC236}">
                <a16:creationId xmlns:a16="http://schemas.microsoft.com/office/drawing/2014/main" id="{4D98955F-4393-C74B-8823-8A7DC9A260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14612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89" name="Picture Placeholder 30">
            <a:extLst>
              <a:ext uri="{FF2B5EF4-FFF2-40B4-BE49-F238E27FC236}">
                <a16:creationId xmlns:a16="http://schemas.microsoft.com/office/drawing/2014/main" id="{CA38E8C6-61C7-47E6-88B0-5ECE3EF79CD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631785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23D7CBDD-52E8-2947-8A55-1930B5D4ED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3733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32">
            <a:extLst>
              <a:ext uri="{FF2B5EF4-FFF2-40B4-BE49-F238E27FC236}">
                <a16:creationId xmlns:a16="http://schemas.microsoft.com/office/drawing/2014/main" id="{A5CF3525-6ECA-F04E-9C5C-523C017231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637337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9" name="Picture Placeholder 33">
            <a:extLst>
              <a:ext uri="{FF2B5EF4-FFF2-40B4-BE49-F238E27FC236}">
                <a16:creationId xmlns:a16="http://schemas.microsoft.com/office/drawing/2014/main" id="{D8E8B2F0-3427-4249-92A8-BC10BF2C0DA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3539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>
            <a:extLst>
              <a:ext uri="{FF2B5EF4-FFF2-40B4-BE49-F238E27FC236}">
                <a16:creationId xmlns:a16="http://schemas.microsoft.com/office/drawing/2014/main" id="{5D488343-1C9B-8846-864D-B5D2F55504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435157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5B3581A1-098D-2644-BAC1-0EB031DCE2B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4507117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>
            <a:extLst>
              <a:ext uri="{FF2B5EF4-FFF2-40B4-BE49-F238E27FC236}">
                <a16:creationId xmlns:a16="http://schemas.microsoft.com/office/drawing/2014/main" id="{FD0DE7C5-E7E1-4D77-8DE1-C3CAFF78A34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655566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B33A7E8C-A66B-E74A-953B-F286AD544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64816" y="435157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>
            <a:extLst>
              <a:ext uri="{FF2B5EF4-FFF2-40B4-BE49-F238E27FC236}">
                <a16:creationId xmlns:a16="http://schemas.microsoft.com/office/drawing/2014/main" id="{F9D81019-5E2D-A748-9B24-E2A7F1F743B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64816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>
            <a:extLst>
              <a:ext uri="{FF2B5EF4-FFF2-40B4-BE49-F238E27FC236}">
                <a16:creationId xmlns:a16="http://schemas.microsoft.com/office/drawing/2014/main" id="{20A58B36-A69A-40E7-ADD3-4909472DD9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777593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4CC018BE-7641-0646-B57C-BC2AE363ED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783473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B0692339-316F-9A4B-9971-062A5301EC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83599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>
            <a:extLst>
              <a:ext uri="{FF2B5EF4-FFF2-40B4-BE49-F238E27FC236}">
                <a16:creationId xmlns:a16="http://schemas.microsoft.com/office/drawing/2014/main" id="{020CC3CF-67D8-4937-82F6-11286A74AB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899620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>
            <a:extLst>
              <a:ext uri="{FF2B5EF4-FFF2-40B4-BE49-F238E27FC236}">
                <a16:creationId xmlns:a16="http://schemas.microsoft.com/office/drawing/2014/main" id="{F2E79B80-B6F7-964E-BF89-9B351CA3A5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905454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>
            <a:extLst>
              <a:ext uri="{FF2B5EF4-FFF2-40B4-BE49-F238E27FC236}">
                <a16:creationId xmlns:a16="http://schemas.microsoft.com/office/drawing/2014/main" id="{F018D580-A2E3-924D-8EED-2B8A99A742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905453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>
            <a:extLst>
              <a:ext uri="{FF2B5EF4-FFF2-40B4-BE49-F238E27FC236}">
                <a16:creationId xmlns:a16="http://schemas.microsoft.com/office/drawing/2014/main" id="{EDD9EC45-27D2-4B9B-9C75-652FE4BA215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021647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>
            <a:extLst>
              <a:ext uri="{FF2B5EF4-FFF2-40B4-BE49-F238E27FC236}">
                <a16:creationId xmlns:a16="http://schemas.microsoft.com/office/drawing/2014/main" id="{1A62BD44-EEB9-7F49-9B7D-9479E19CFC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27435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>
            <a:extLst>
              <a:ext uri="{FF2B5EF4-FFF2-40B4-BE49-F238E27FC236}">
                <a16:creationId xmlns:a16="http://schemas.microsoft.com/office/drawing/2014/main" id="{5249C6DD-3F23-104A-B449-50789EB136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27497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>
            <a:extLst>
              <a:ext uri="{FF2B5EF4-FFF2-40B4-BE49-F238E27FC236}">
                <a16:creationId xmlns:a16="http://schemas.microsoft.com/office/drawing/2014/main" id="{5AFFAB2C-92CF-49EE-8373-A236E316A2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143675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>
            <a:extLst>
              <a:ext uri="{FF2B5EF4-FFF2-40B4-BE49-F238E27FC236}">
                <a16:creationId xmlns:a16="http://schemas.microsoft.com/office/drawing/2014/main" id="{1AC925DE-2FDE-644C-AF59-4745169355D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49416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>
            <a:extLst>
              <a:ext uri="{FF2B5EF4-FFF2-40B4-BE49-F238E27FC236}">
                <a16:creationId xmlns:a16="http://schemas.microsoft.com/office/drawing/2014/main" id="{D91302CC-55A1-9C41-A7B9-67674B810B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49351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>
            <a:extLst>
              <a:ext uri="{FF2B5EF4-FFF2-40B4-BE49-F238E27FC236}">
                <a16:creationId xmlns:a16="http://schemas.microsoft.com/office/drawing/2014/main" id="{D3E8AD6B-347A-4B27-945E-B94043FB97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65702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>
            <a:extLst>
              <a:ext uri="{FF2B5EF4-FFF2-40B4-BE49-F238E27FC236}">
                <a16:creationId xmlns:a16="http://schemas.microsoft.com/office/drawing/2014/main" id="{A23D44C8-4B1E-E24B-8DCF-D96526CCF6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71397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>
            <a:extLst>
              <a:ext uri="{FF2B5EF4-FFF2-40B4-BE49-F238E27FC236}">
                <a16:creationId xmlns:a16="http://schemas.microsoft.com/office/drawing/2014/main" id="{E1D50DAE-A829-8D4D-AFCB-5CE06521A1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71395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>
            <a:extLst>
              <a:ext uri="{FF2B5EF4-FFF2-40B4-BE49-F238E27FC236}">
                <a16:creationId xmlns:a16="http://schemas.microsoft.com/office/drawing/2014/main" id="{EF08F3FA-A172-484A-B0CD-37129E97EF8F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387729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>
            <a:extLst>
              <a:ext uri="{FF2B5EF4-FFF2-40B4-BE49-F238E27FC236}">
                <a16:creationId xmlns:a16="http://schemas.microsoft.com/office/drawing/2014/main" id="{01FD1131-5693-0D49-9013-E90201A129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93379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>
            <a:extLst>
              <a:ext uri="{FF2B5EF4-FFF2-40B4-BE49-F238E27FC236}">
                <a16:creationId xmlns:a16="http://schemas.microsoft.com/office/drawing/2014/main" id="{F461921F-1961-DC48-B41F-1EF39947A2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393440" y="4507117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7" name="Picture Placeholder 57">
            <a:extLst>
              <a:ext uri="{FF2B5EF4-FFF2-40B4-BE49-F238E27FC236}">
                <a16:creationId xmlns:a16="http://schemas.microsoft.com/office/drawing/2014/main" id="{3624940F-A7AD-4613-B22C-DC38FF709F99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509756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8" name="Text Placeholder 58">
            <a:extLst>
              <a:ext uri="{FF2B5EF4-FFF2-40B4-BE49-F238E27FC236}">
                <a16:creationId xmlns:a16="http://schemas.microsoft.com/office/drawing/2014/main" id="{63B389AB-56F9-D244-98EE-AC185A39DB5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15360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72" name="Text Placeholder 59">
            <a:extLst>
              <a:ext uri="{FF2B5EF4-FFF2-40B4-BE49-F238E27FC236}">
                <a16:creationId xmlns:a16="http://schemas.microsoft.com/office/drawing/2014/main" id="{37DF0B59-D77B-4C49-86A0-BDFBAAF1ABE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515293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98" name="Picture Placeholder 60">
            <a:extLst>
              <a:ext uri="{FF2B5EF4-FFF2-40B4-BE49-F238E27FC236}">
                <a16:creationId xmlns:a16="http://schemas.microsoft.com/office/drawing/2014/main" id="{CE84054F-B4A8-4445-9EAA-80858C421F52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631784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0" name="Text Placeholder 61">
            <a:extLst>
              <a:ext uri="{FF2B5EF4-FFF2-40B4-BE49-F238E27FC236}">
                <a16:creationId xmlns:a16="http://schemas.microsoft.com/office/drawing/2014/main" id="{F7B5C705-9535-E74A-8413-EF6BB7539C3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637337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8" name="Text Placeholder 62">
            <a:extLst>
              <a:ext uri="{FF2B5EF4-FFF2-40B4-BE49-F238E27FC236}">
                <a16:creationId xmlns:a16="http://schemas.microsoft.com/office/drawing/2014/main" id="{652329CC-C86A-F64B-B753-EC605EB071C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637337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F9F2B-CC6C-9D3F-2747-D4BF19A582E7}"/>
              </a:ext>
            </a:extLst>
          </p:cNvPr>
          <p:cNvSpPr>
            <a:spLocks noGrp="1"/>
          </p:cNvSpPr>
          <p:nvPr>
            <p:ph type="dt" sz="half" idx="62"/>
          </p:nvPr>
        </p:nvSpPr>
        <p:spPr>
          <a:noFill/>
        </p:spPr>
        <p:txBody>
          <a:bodyPr>
            <a:noAutofit/>
          </a:bodyPr>
          <a:lstStyle/>
          <a:p>
            <a:fld id="{63D85AEB-9F1D-CC4D-8EB6-D36659B2B63A}" type="datetime3">
              <a:rPr lang="en-US" smtClean="0"/>
              <a:t>31 March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5E24A-825B-BA20-8933-782BD27BFAFC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noFill/>
        </p:spPr>
        <p:txBody>
          <a:bodyPr>
            <a:noAutofit/>
          </a:bodyPr>
          <a:lstStyle/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EE7EE-6911-FC7C-35B8-2043F40C561A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noFill/>
        </p:spPr>
        <p:txBody>
          <a:bodyPr>
            <a:noAutofit/>
          </a:bodyPr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33">
            <a:extLst>
              <a:ext uri="{FF2B5EF4-FFF2-40B4-BE49-F238E27FC236}">
                <a16:creationId xmlns:a16="http://schemas.microsoft.com/office/drawing/2014/main" id="{F41D7878-8723-1DAE-E07C-413B0E3F9CDF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33540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F8707395-9612-4DD0-6BE2-66A33540632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42458" y="5943982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91DDB01F-D125-9A24-A865-43DA4979E15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2458" y="6099525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1" name="Picture Placeholder 36">
            <a:extLst>
              <a:ext uri="{FF2B5EF4-FFF2-40B4-BE49-F238E27FC236}">
                <a16:creationId xmlns:a16="http://schemas.microsoft.com/office/drawing/2014/main" id="{E39EB324-7757-1E1E-E23E-DCF4C3F333E5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1655567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B1B18D6E-3412-0713-D141-33F52580996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664816" y="5943982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6418F035-0E29-3103-7171-53C6DF5EC74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664816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39">
            <a:extLst>
              <a:ext uri="{FF2B5EF4-FFF2-40B4-BE49-F238E27FC236}">
                <a16:creationId xmlns:a16="http://schemas.microsoft.com/office/drawing/2014/main" id="{C92F57C7-6F61-BFC9-379E-622CFAB3F8E4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2777594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7" name="Text Placeholder 40">
            <a:extLst>
              <a:ext uri="{FF2B5EF4-FFF2-40B4-BE49-F238E27FC236}">
                <a16:creationId xmlns:a16="http://schemas.microsoft.com/office/drawing/2014/main" id="{20EDACDA-AEA6-FBE3-EAF8-94F016B68F3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83473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DDCA69C9-B196-AB1E-5A30-9D3520825A7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783599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0" name="Picture Placeholder 42">
            <a:extLst>
              <a:ext uri="{FF2B5EF4-FFF2-40B4-BE49-F238E27FC236}">
                <a16:creationId xmlns:a16="http://schemas.microsoft.com/office/drawing/2014/main" id="{B63777F4-516D-AB76-D090-4F3459E39ED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3899621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Text Placeholder 43">
            <a:extLst>
              <a:ext uri="{FF2B5EF4-FFF2-40B4-BE49-F238E27FC236}">
                <a16:creationId xmlns:a16="http://schemas.microsoft.com/office/drawing/2014/main" id="{BFE3EB8B-617F-9091-1873-147F5622AC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905454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3" name="Text Placeholder 44">
            <a:extLst>
              <a:ext uri="{FF2B5EF4-FFF2-40B4-BE49-F238E27FC236}">
                <a16:creationId xmlns:a16="http://schemas.microsoft.com/office/drawing/2014/main" id="{683A22C1-467E-AB6D-3953-8DFAF960286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905453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4" name="Picture Placeholder 45">
            <a:extLst>
              <a:ext uri="{FF2B5EF4-FFF2-40B4-BE49-F238E27FC236}">
                <a16:creationId xmlns:a16="http://schemas.microsoft.com/office/drawing/2014/main" id="{F37516B9-6F78-1EB4-6960-1B72CDA807A7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5021648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6" name="Text Placeholder 46">
            <a:extLst>
              <a:ext uri="{FF2B5EF4-FFF2-40B4-BE49-F238E27FC236}">
                <a16:creationId xmlns:a16="http://schemas.microsoft.com/office/drawing/2014/main" id="{803B6579-59D0-0985-0B0D-8B7EC00F984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027435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28" name="Text Placeholder 47">
            <a:extLst>
              <a:ext uri="{FF2B5EF4-FFF2-40B4-BE49-F238E27FC236}">
                <a16:creationId xmlns:a16="http://schemas.microsoft.com/office/drawing/2014/main" id="{319481EE-8A02-29FC-54F1-94D40DE03ED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027497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29" name="Picture Placeholder 48">
            <a:extLst>
              <a:ext uri="{FF2B5EF4-FFF2-40B4-BE49-F238E27FC236}">
                <a16:creationId xmlns:a16="http://schemas.microsoft.com/office/drawing/2014/main" id="{5D7A3062-9B59-8915-36FA-211E1FE9B99D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6143676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49">
            <a:extLst>
              <a:ext uri="{FF2B5EF4-FFF2-40B4-BE49-F238E27FC236}">
                <a16:creationId xmlns:a16="http://schemas.microsoft.com/office/drawing/2014/main" id="{78ED2E27-EA25-6133-56E3-014F0F15F21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149416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50">
            <a:extLst>
              <a:ext uri="{FF2B5EF4-FFF2-40B4-BE49-F238E27FC236}">
                <a16:creationId xmlns:a16="http://schemas.microsoft.com/office/drawing/2014/main" id="{4979941B-236A-6116-5582-9FF51C08EBB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149351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51">
            <a:extLst>
              <a:ext uri="{FF2B5EF4-FFF2-40B4-BE49-F238E27FC236}">
                <a16:creationId xmlns:a16="http://schemas.microsoft.com/office/drawing/2014/main" id="{0112C561-5C62-B386-469A-BCBE6E56D72E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7265703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5" name="Text Placeholder 52">
            <a:extLst>
              <a:ext uri="{FF2B5EF4-FFF2-40B4-BE49-F238E27FC236}">
                <a16:creationId xmlns:a16="http://schemas.microsoft.com/office/drawing/2014/main" id="{89E7801A-C362-8DA5-6D73-106EF460AED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271397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36" name="Text Placeholder 53">
            <a:extLst>
              <a:ext uri="{FF2B5EF4-FFF2-40B4-BE49-F238E27FC236}">
                <a16:creationId xmlns:a16="http://schemas.microsoft.com/office/drawing/2014/main" id="{574972F6-364A-3958-E1C4-BB7DF1276BF1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271395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38" name="Picture Placeholder 54">
            <a:extLst>
              <a:ext uri="{FF2B5EF4-FFF2-40B4-BE49-F238E27FC236}">
                <a16:creationId xmlns:a16="http://schemas.microsoft.com/office/drawing/2014/main" id="{76C97810-A576-D88E-4DD3-3EBD4DE6A421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8387730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Text Placeholder 55">
            <a:extLst>
              <a:ext uri="{FF2B5EF4-FFF2-40B4-BE49-F238E27FC236}">
                <a16:creationId xmlns:a16="http://schemas.microsoft.com/office/drawing/2014/main" id="{1CA00D4B-6F8D-7D1E-7726-10A20A07FFA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393379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1" name="Text Placeholder 56">
            <a:extLst>
              <a:ext uri="{FF2B5EF4-FFF2-40B4-BE49-F238E27FC236}">
                <a16:creationId xmlns:a16="http://schemas.microsoft.com/office/drawing/2014/main" id="{46DBF793-38AB-990A-1E15-6E7FA502C0D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8393440" y="6099525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2" name="Picture Placeholder 57">
            <a:extLst>
              <a:ext uri="{FF2B5EF4-FFF2-40B4-BE49-F238E27FC236}">
                <a16:creationId xmlns:a16="http://schemas.microsoft.com/office/drawing/2014/main" id="{0F6455EF-0CE1-2370-C4E1-A59409835397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9509757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4" name="Text Placeholder 58">
            <a:extLst>
              <a:ext uri="{FF2B5EF4-FFF2-40B4-BE49-F238E27FC236}">
                <a16:creationId xmlns:a16="http://schemas.microsoft.com/office/drawing/2014/main" id="{4CD5CE1F-8124-5700-D0FA-3DC8E61619C1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515360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46" name="Text Placeholder 59">
            <a:extLst>
              <a:ext uri="{FF2B5EF4-FFF2-40B4-BE49-F238E27FC236}">
                <a16:creationId xmlns:a16="http://schemas.microsoft.com/office/drawing/2014/main" id="{00DCFC32-34CC-A342-1461-5E37176DC35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515293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47" name="Picture Placeholder 60">
            <a:extLst>
              <a:ext uri="{FF2B5EF4-FFF2-40B4-BE49-F238E27FC236}">
                <a16:creationId xmlns:a16="http://schemas.microsoft.com/office/drawing/2014/main" id="{2F47573C-1828-EBB3-F36C-00F4F12F5196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10631785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8" name="Text Placeholder 61">
            <a:extLst>
              <a:ext uri="{FF2B5EF4-FFF2-40B4-BE49-F238E27FC236}">
                <a16:creationId xmlns:a16="http://schemas.microsoft.com/office/drawing/2014/main" id="{3B837F64-6D5A-A780-06BB-764E5B07CC19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637337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irst and Last Name</a:t>
            </a:r>
          </a:p>
        </p:txBody>
      </p:sp>
      <p:sp>
        <p:nvSpPr>
          <p:cNvPr id="50" name="Text Placeholder 62">
            <a:extLst>
              <a:ext uri="{FF2B5EF4-FFF2-40B4-BE49-F238E27FC236}">
                <a16:creationId xmlns:a16="http://schemas.microsoft.com/office/drawing/2014/main" id="{747AFC41-C326-C8EC-87C0-2368A1E8774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0637337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marL="0" marR="0" lvl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CE63076-4FFF-6E4A-2BA8-4276D428BCEB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28192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8">
          <p15:clr>
            <a:srgbClr val="FBAE40"/>
          </p15:clr>
        </p15:guide>
        <p15:guide id="2" orient="horz" pos="1691">
          <p15:clr>
            <a:srgbClr val="FBAE40"/>
          </p15:clr>
        </p15:guide>
        <p15:guide id="5" orient="horz" pos="1726">
          <p15:clr>
            <a:srgbClr val="FBAE40"/>
          </p15:clr>
        </p15:guide>
        <p15:guide id="6" orient="horz" pos="1823">
          <p15:clr>
            <a:srgbClr val="FBAE40"/>
          </p15:clr>
        </p15:guide>
        <p15:guide id="8" orient="horz" pos="1820">
          <p15:clr>
            <a:srgbClr val="FBAE40"/>
          </p15:clr>
        </p15:guide>
        <p15:guide id="9" orient="horz" pos="1917">
          <p15:clr>
            <a:srgbClr val="FBAE40"/>
          </p15:clr>
        </p15:guide>
        <p15:guide id="11" orient="horz" pos="2098">
          <p15:clr>
            <a:srgbClr val="FBAE40"/>
          </p15:clr>
        </p15:guide>
        <p15:guide id="12" orient="horz" pos="2732">
          <p15:clr>
            <a:srgbClr val="FBAE40"/>
          </p15:clr>
        </p15:guide>
        <p15:guide id="14" orient="horz" pos="2774">
          <p15:clr>
            <a:srgbClr val="FBAE40"/>
          </p15:clr>
        </p15:guide>
        <p15:guide id="15" orient="horz" pos="2871">
          <p15:clr>
            <a:srgbClr val="FBAE40"/>
          </p15:clr>
        </p15:guide>
        <p15:guide id="17" orient="horz" pos="2872">
          <p15:clr>
            <a:srgbClr val="FBAE40"/>
          </p15:clr>
        </p15:guide>
        <p15:guide id="18" orient="horz" pos="2969">
          <p15:clr>
            <a:srgbClr val="FBAE40"/>
          </p15:clr>
        </p15:guide>
        <p15:guide id="19" orient="horz" pos="311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affr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ACF003-5DD2-668D-560D-904F0FC453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  <p:sp>
        <p:nvSpPr>
          <p:cNvPr id="5" name="TextBox 1">
            <a:extLst>
              <a:ext uri="{FF2B5EF4-FFF2-40B4-BE49-F238E27FC236}">
                <a16:creationId xmlns:a16="http://schemas.microsoft.com/office/drawing/2014/main" id="{D0F9FC47-295C-4D4A-9DD9-EE77C90B4A93}"/>
              </a:ext>
            </a:extLst>
          </p:cNvPr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b="0" i="0">
                <a:solidFill>
                  <a:schemeClr val="accent6"/>
                </a:solidFill>
                <a:latin typeface="+mn-lt"/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4032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44ADC6-39E6-9329-5308-BCC228B2EC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3" name="TextBox 1">
            <a:extLst>
              <a:ext uri="{FF2B5EF4-FFF2-40B4-BE49-F238E27FC236}">
                <a16:creationId xmlns:a16="http://schemas.microsoft.com/office/drawing/2014/main" id="{0A845772-49A1-5BDE-695D-1B3A5FBFC363}"/>
              </a:ext>
            </a:extLst>
          </p:cNvPr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b="0" i="0">
                <a:solidFill>
                  <a:schemeClr val="bg1"/>
                </a:solidFill>
                <a:latin typeface="+mn-lt"/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418943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">
  <p:cSld name="One Column">
    <p:bg>
      <p:bgPr>
        <a:solidFill>
          <a:schemeClr val="lt1"/>
        </a:solidFill>
        <a:effectLst/>
      </p:bgPr>
    </p:bg>
    <p:spTree>
      <p:nvGrpSpPr>
        <p:cNvPr id="1" name="Shape 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Google Shape;784;p119"/>
          <p:cNvSpPr txBox="1">
            <a:spLocks noGrp="1"/>
          </p:cNvSpPr>
          <p:nvPr>
            <p:ph type="body" idx="1"/>
          </p:nvPr>
        </p:nvSpPr>
        <p:spPr>
          <a:xfrm>
            <a:off x="444967" y="1824367"/>
            <a:ext cx="11302400" cy="42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Roboto Light"/>
              <a:buChar char="·"/>
              <a:defRPr sz="2667"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Light"/>
              <a:buChar char="·"/>
              <a:defRPr sz="2400"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40256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600"/>
              <a:buFont typeface="Roboto Light"/>
              <a:buChar char="·"/>
              <a:defRPr sz="2133"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23323"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23323" algn="l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Clr>
                <a:srgbClr val="434343"/>
              </a:buClr>
              <a:buSzPts val="1400"/>
              <a:buFont typeface="Roboto Light"/>
              <a:buChar char="·"/>
              <a:defRPr>
                <a:solidFill>
                  <a:srgbClr val="434343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785" name="Google Shape;785;p119"/>
          <p:cNvSpPr txBox="1">
            <a:spLocks noGrp="1"/>
          </p:cNvSpPr>
          <p:nvPr>
            <p:ph type="subTitle" idx="2"/>
          </p:nvPr>
        </p:nvSpPr>
        <p:spPr>
          <a:xfrm>
            <a:off x="444967" y="1084967"/>
            <a:ext cx="11290000" cy="4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 sz="26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786" name="Google Shape;786;p119"/>
          <p:cNvSpPr txBox="1">
            <a:spLocks noGrp="1"/>
          </p:cNvSpPr>
          <p:nvPr>
            <p:ph type="title"/>
          </p:nvPr>
        </p:nvSpPr>
        <p:spPr>
          <a:xfrm>
            <a:off x="444967" y="358200"/>
            <a:ext cx="11302000" cy="517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oboto Light"/>
              <a:buNone/>
              <a:defRPr sz="3733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119"/>
          <p:cNvSpPr txBox="1"/>
          <p:nvPr/>
        </p:nvSpPr>
        <p:spPr>
          <a:xfrm>
            <a:off x="4799600" y="6378440"/>
            <a:ext cx="2592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B7B7B7"/>
                </a:solidFill>
                <a:latin typeface="Roboto"/>
                <a:ea typeface="Roboto"/>
                <a:cs typeface="Roboto"/>
                <a:sym typeface="Roboto"/>
              </a:rPr>
              <a:t>Confidential &amp; Proprietary</a:t>
            </a:r>
            <a:endParaRPr sz="1200">
              <a:solidFill>
                <a:srgbClr val="B7B7B7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88" name="Google Shape;788;p119"/>
          <p:cNvSpPr/>
          <p:nvPr/>
        </p:nvSpPr>
        <p:spPr>
          <a:xfrm>
            <a:off x="11346403" y="6132125"/>
            <a:ext cx="388400" cy="385600"/>
          </a:xfrm>
          <a:prstGeom prst="ellipse">
            <a:avLst/>
          </a:prstGeom>
          <a:solidFill>
            <a:srgbClr val="EA262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t>‹#›</a:t>
            </a:fld>
            <a:endParaRPr sz="1333">
              <a:solidFill>
                <a:srgbClr val="FFFFFF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  <p:sp>
        <p:nvSpPr>
          <p:cNvPr id="789" name="Google Shape;789;p119"/>
          <p:cNvSpPr/>
          <p:nvPr/>
        </p:nvSpPr>
        <p:spPr>
          <a:xfrm>
            <a:off x="11346395" y="6008513"/>
            <a:ext cx="78800" cy="78000"/>
          </a:xfrm>
          <a:prstGeom prst="ellipse">
            <a:avLst/>
          </a:prstGeom>
          <a:solidFill>
            <a:srgbClr val="006D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90" name="Google Shape;790;p119"/>
          <p:cNvSpPr/>
          <p:nvPr/>
        </p:nvSpPr>
        <p:spPr>
          <a:xfrm>
            <a:off x="11133736" y="6086484"/>
            <a:ext cx="162400" cy="160800"/>
          </a:xfrm>
          <a:prstGeom prst="ellipse">
            <a:avLst/>
          </a:prstGeom>
          <a:solidFill>
            <a:srgbClr val="0067B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791" name="Google Shape;791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00" y="6205747"/>
            <a:ext cx="402133" cy="390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48603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5E7813-0ECF-46D4-BB1D-4B9E9C7FA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66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5E7813-0ECF-46D4-BB1D-4B9E9C7FA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lnSpc>
                <a:spcPct val="100000"/>
              </a:lnSpc>
              <a:defRPr>
                <a:cs typeface="+mj-cs"/>
              </a:defRPr>
            </a:lvl1pPr>
          </a:lstStyle>
          <a:p>
            <a:r>
              <a:rPr lang="en-US"/>
              <a:t>Basic text slide - white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5488" y="1021112"/>
            <a:ext cx="11120967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1" baseline="0" dirty="0">
                <a:solidFill>
                  <a:srgbClr val="000000"/>
                </a:solidFill>
                <a:cs typeface="+mn-cs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4CDDFFB-D274-6844-8B51-1DF88BFB98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77832"/>
            <a:ext cx="11119274" cy="112595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8" name="Date Placeholder 4">
            <a:extLst>
              <a:ext uri="{FF2B5EF4-FFF2-40B4-BE49-F238E27FC236}">
                <a16:creationId xmlns:a16="http://schemas.microsoft.com/office/drawing/2014/main" id="{693A3A6B-2912-404C-B880-AB1575C2DD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1218987" rtl="0" eaLnBrk="1" latinLnBrk="0" hangingPunct="1">
              <a:defRPr lang="en-US" sz="700" kern="1200" spc="20" baseline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5B0F17-266B-47E3-9822-7066163A054C}" type="datetime3">
              <a:rPr lang="en-US" smtClean="0"/>
              <a:t>31 March 2026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2E7B7752-E4B2-ED4B-8866-D8BBE9493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8987" rtl="0" eaLnBrk="1" latinLnBrk="0" hangingPunct="1">
              <a:defRPr sz="700" kern="1200" spc="20" baseline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27DB30-90C6-211C-BDBC-DB034F63F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18850" cy="464907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44487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79475A-99AC-3E37-A473-2D6D39C3AD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4E9173-C493-D4D6-880F-E9E2CACE7E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B055A5-4CF7-BA05-CC48-79FDE5F75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ED836D-3DB4-CC58-6A74-1E5A6DB9C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326CE-7DB1-A64B-3DC4-81BD484DB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3577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0A0FCF-9804-E18E-92D3-3A97353F8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690030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5115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F35DA3AE-B289-C117-4D29-E992899A57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6120000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A653919-8691-BD72-FEC9-8ECCDAECB7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612000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36914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">
            <a:extLst>
              <a:ext uri="{FF2B5EF4-FFF2-40B4-BE49-F238E27FC236}">
                <a16:creationId xmlns:a16="http://schemas.microsoft.com/office/drawing/2014/main" id="{F5BC67E5-D42E-5064-B50C-CDDD78F839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0AB21A6-C81E-71F2-056B-ACEC41D423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60535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3">
            <a:extLst>
              <a:ext uri="{FF2B5EF4-FFF2-40B4-BE49-F238E27FC236}">
                <a16:creationId xmlns:a16="http://schemas.microsoft.com/office/drawing/2014/main" id="{9B2DAB7A-347A-2174-BCC0-B11538883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pic>
        <p:nvPicPr>
          <p:cNvPr id="14" name="Graphic 2">
            <a:extLst>
              <a:ext uri="{FF2B5EF4-FFF2-40B4-BE49-F238E27FC236}">
                <a16:creationId xmlns:a16="http://schemas.microsoft.com/office/drawing/2014/main" id="{E4BCB2AB-45F5-8AA0-A2AA-7E97421249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H="1">
            <a:off x="6022109" y="0"/>
            <a:ext cx="6169891" cy="3172532"/>
          </a:xfrm>
          <a:prstGeom prst="rect">
            <a:avLst/>
          </a:prstGeom>
        </p:spPr>
      </p:pic>
      <p:pic>
        <p:nvPicPr>
          <p:cNvPr id="11" name="Graphic 1">
            <a:extLst>
              <a:ext uri="{FF2B5EF4-FFF2-40B4-BE49-F238E27FC236}">
                <a16:creationId xmlns:a16="http://schemas.microsoft.com/office/drawing/2014/main" id="{9742A25D-1B42-0B10-897B-8F283A2BE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" b="44316"/>
          <a:stretch/>
        </p:blipFill>
        <p:spPr>
          <a:xfrm rot="10800000" flipV="1">
            <a:off x="1161" y="5091435"/>
            <a:ext cx="6169891" cy="1766567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30A1FAD9-2E2A-B859-E64C-6BC29179F3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96C4F1D6-A65B-91AB-7249-1EA90C8172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366813698" name="Logo" descr="{&quot;templafy&quot;:{&quot;id&quot;:&quot;0876b7f1-a5d4-4052-bdd7-4002bf10b63c&quot;}}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8775" y="269877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816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B707C6B8-19DC-8518-4141-117368C0E5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DE954BEA-6418-6152-8D0B-B262200880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A8A2DFEE-533A-AC89-E8D9-ECB48D2B42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364611773" name="Logo" descr="{&quot;templafy&quot;:{&quot;id&quot;:&quot;abdb3161-3697-4e96-8a88-82b13028c5e0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509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A7979B1-9138-093E-B8C7-C436A7C043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DE954BEA-6418-6152-8D0B-B262200880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A8A2DFEE-533A-AC89-E8D9-ECB48D2B42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990218591" name="Logo" descr="{&quot;templafy&quot;:{&quot;id&quot;:&quot;1b4ff902-bf97-407b-933b-61e6b1401bf8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048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ADEFC2A9-324D-20ED-647A-045604A119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66EA0CE4-ADC0-4BD0-694C-2E893BF39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924640"/>
            <a:ext cx="7577139" cy="1620000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ubtitle or date (DD.MM.YYYY)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32543A39-AFAF-48FC-480B-6EE884AB7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33127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1507932396" name="Logo" descr="{&quot;templafy&quot;:{&quot;id&quot;:&quot;207adc4f-1818-47fe-8f4e-7945c98b5dc4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269877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3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2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/>
            </a:lvl1pPr>
            <a:lvl2pPr marL="335756" indent="0">
              <a:buFont typeface="Arial" panose="020B0604020202020204" pitchFamily="34" charset="0"/>
              <a:buNone/>
              <a:defRPr/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7048EB2-14C5-4D54-C5AE-9B98E2A989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69046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3">
            <a:extLst>
              <a:ext uri="{FF2B5EF4-FFF2-40B4-BE49-F238E27FC236}">
                <a16:creationId xmlns:a16="http://schemas.microsoft.com/office/drawing/2014/main" id="{380BEBCB-F8C9-CDB4-9C27-14716CC871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90287DF-CB16-7698-7F02-779B8036E89F}"/>
              </a:ext>
            </a:extLst>
          </p:cNvPr>
          <p:cNvGrpSpPr/>
          <p:nvPr userDrawn="1"/>
        </p:nvGrpSpPr>
        <p:grpSpPr>
          <a:xfrm>
            <a:off x="2873207" y="4679388"/>
            <a:ext cx="7288541" cy="2184708"/>
            <a:chOff x="2873206" y="4679388"/>
            <a:chExt cx="7288541" cy="2184708"/>
          </a:xfrm>
        </p:grpSpPr>
        <p:pic>
          <p:nvPicPr>
            <p:cNvPr id="9" name="Graphic 2">
              <a:extLst>
                <a:ext uri="{FF2B5EF4-FFF2-40B4-BE49-F238E27FC236}">
                  <a16:creationId xmlns:a16="http://schemas.microsoft.com/office/drawing/2014/main" id="{414BFE9F-2063-7347-3508-A432644DF9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r="82379" b="31137"/>
            <a:stretch/>
          </p:blipFill>
          <p:spPr>
            <a:xfrm rot="10800000" flipV="1">
              <a:off x="9074585" y="4679388"/>
              <a:ext cx="1087162" cy="2184708"/>
            </a:xfrm>
            <a:prstGeom prst="rect">
              <a:avLst/>
            </a:prstGeom>
          </p:spPr>
        </p:pic>
        <p:pic>
          <p:nvPicPr>
            <p:cNvPr id="8" name="Graphic 2">
              <a:extLst>
                <a:ext uri="{FF2B5EF4-FFF2-40B4-BE49-F238E27FC236}">
                  <a16:creationId xmlns:a16="http://schemas.microsoft.com/office/drawing/2014/main" id="{AEAE26FA-F74F-AB76-2E44-4446B953B9C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b="35665"/>
            <a:stretch/>
          </p:blipFill>
          <p:spPr>
            <a:xfrm rot="10800000" flipH="1" flipV="1">
              <a:off x="2873206" y="4823036"/>
              <a:ext cx="6169891" cy="2041060"/>
            </a:xfrm>
            <a:prstGeom prst="rect">
              <a:avLst/>
            </a:prstGeom>
          </p:spPr>
        </p:pic>
      </p:grpSp>
      <p:cxnSp>
        <p:nvCxnSpPr>
          <p:cNvPr id="14" name="Straight Connector 2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/>
            </a:lvl1pPr>
            <a:lvl2pPr marL="335756" indent="0">
              <a:buFont typeface="Arial" panose="020B0604020202020204" pitchFamily="34" charset="0"/>
              <a:buNone/>
              <a:defRPr/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7048EB2-14C5-4D54-C5AE-9B98E2A989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DF0A7A7A-0FAE-DCC6-EBF1-9E09287AE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 flipH="1">
            <a:off x="6022109" y="0"/>
            <a:ext cx="6169891" cy="3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603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500" b="1" i="0" baseline="0"/>
            </a:lvl1pPr>
          </a:lstStyle>
          <a:p>
            <a:r>
              <a:rPr lang="en-US"/>
              <a:t>AVAC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C0CCE-7552-A341-BCD0-8A3B493EA9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 baseline="0">
                <a:solidFill>
                  <a:srgbClr val="FF84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7154F93-3658-EC4E-B6B0-6982B218CD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5447506"/>
            <a:ext cx="3338513" cy="57626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1" i="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Author/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3FD79-0F8D-FA4B-A167-3D15215BF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874" y="3516870"/>
            <a:ext cx="9414652" cy="65779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6799025-0FCD-C1F5-83ED-A3372256A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5210" y="585470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5397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985560609" name="Logo" descr="{&quot;templafy&quot;:{&quot;id&quot;:&quot;bb6bc801-692f-4fb5-888a-3c7971a3a7b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D3037CC5-F003-D0BD-A14D-852B92149F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335756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39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84968985" name="Logo" descr="{&quot;templafy&quot;:{&quot;id&quot;:&quot;52efc335-efe1-4573-b28d-800a8109d03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741E37F3-B9FC-159B-EC31-E6D720297E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335756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02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Yell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03666852" name="Logo" descr="{&quot;templafy&quot;:{&quot;id&quot;:&quot;d868a459-d3a5-4946-b1b8-d5dda382134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4"/>
            <a:ext cx="1623600" cy="150433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9D38415B-D3E9-280B-8A8D-C1BD19AC66D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/>
            </a:lvl1pPr>
            <a:lvl2pPr marL="335756" indent="0">
              <a:buFont typeface="Arial" panose="020B0604020202020204" pitchFamily="34" charset="0"/>
              <a:buNone/>
              <a:defRPr/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552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1162198B-863F-CAC0-3909-15ADFAD4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1D015C5-D629-85EC-B047-C9844ED68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33561348" name="Logo" descr="{&quot;templafy&quot;:{&quot;id&quot;:&quot;8526842e-d28b-492e-a977-ae7fb6348df2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EF0B9594-3388-FD92-C0EB-A9860DDF02ED}"/>
              </a:ext>
            </a:extLst>
          </p:cNvPr>
          <p:cNvCxnSpPr>
            <a:cxnSpLocks/>
          </p:cNvCxnSpPr>
          <p:nvPr userDrawn="1"/>
        </p:nvCxnSpPr>
        <p:spPr>
          <a:xfrm>
            <a:off x="358776" y="6104211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">
            <a:extLst>
              <a:ext uri="{FF2B5EF4-FFF2-40B4-BE49-F238E27FC236}">
                <a16:creationId xmlns:a16="http://schemas.microsoft.com/office/drawing/2014/main" id="{28803C80-7CB2-92EB-A7B0-01E5FEBF476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FFD561B4-2D87-AB9B-F044-72F5F50C66B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5626800" cy="4330800"/>
          </a:xfrm>
        </p:spPr>
        <p:txBody>
          <a:bodyPr numCol="1"/>
          <a:lstStyle>
            <a:lvl1pPr marL="335756" indent="-335756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335756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35756" indent="0">
              <a:buFont typeface="Arial" panose="020B0604020202020204" pitchFamily="34" charset="0"/>
              <a:buNone/>
              <a:defRPr sz="1500"/>
            </a:lvl3pPr>
            <a:lvl4pPr marL="335756" indent="0">
              <a:buFont typeface="Arial" panose="020B0604020202020204" pitchFamily="34" charset="0"/>
              <a:buNone/>
              <a:defRPr sz="1500"/>
            </a:lvl4pPr>
            <a:lvl5pPr marL="335756" indent="0">
              <a:buFont typeface="Arial" panose="020B0604020202020204" pitchFamily="34" charset="0"/>
              <a:buNone/>
              <a:defRPr sz="1500"/>
            </a:lvl5pPr>
          </a:lstStyle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  <a:p>
            <a:r>
              <a:rPr lang="en-US" dirty="0"/>
              <a:t>Section title</a:t>
            </a:r>
            <a:endParaRPr lang="en-US"/>
          </a:p>
          <a:p>
            <a:pPr lvl="1"/>
            <a:r>
              <a:rPr lang="en-US" dirty="0"/>
              <a:t>Additional information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BBE512A-0EC8-2618-04B8-A868863A5B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939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345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725F519-C6D4-F1C8-FA65-F5ECAB2C4A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7EC0FF88-F985-ADDD-750D-D7AA72C69D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56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3">
            <a:extLst>
              <a:ext uri="{FF2B5EF4-FFF2-40B4-BE49-F238E27FC236}">
                <a16:creationId xmlns:a16="http://schemas.microsoft.com/office/drawing/2014/main" id="{D9E8BF1D-2C63-8E21-42DB-DADB21EA6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pic>
        <p:nvPicPr>
          <p:cNvPr id="13" name="Graphic 2">
            <a:extLst>
              <a:ext uri="{FF2B5EF4-FFF2-40B4-BE49-F238E27FC236}">
                <a16:creationId xmlns:a16="http://schemas.microsoft.com/office/drawing/2014/main" id="{DF43B82F-25EC-B048-6B18-298AA5C95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13132"/>
          <a:stretch/>
        </p:blipFill>
        <p:spPr>
          <a:xfrm rot="10800000" flipH="1">
            <a:off x="6832338" y="0"/>
            <a:ext cx="5359663" cy="3172532"/>
          </a:xfrm>
          <a:prstGeom prst="rect">
            <a:avLst/>
          </a:prstGeom>
        </p:spPr>
      </p:pic>
      <p:pic>
        <p:nvPicPr>
          <p:cNvPr id="11" name="Graphic 1">
            <a:extLst>
              <a:ext uri="{FF2B5EF4-FFF2-40B4-BE49-F238E27FC236}">
                <a16:creationId xmlns:a16="http://schemas.microsoft.com/office/drawing/2014/main" id="{E23CB807-D63F-501A-F26B-8B01C6C9CF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" b="44316"/>
          <a:stretch/>
        </p:blipFill>
        <p:spPr>
          <a:xfrm rot="10800000" flipV="1">
            <a:off x="1161" y="5091435"/>
            <a:ext cx="6169891" cy="1766567"/>
          </a:xfrm>
          <a:prstGeom prst="rect">
            <a:avLst/>
          </a:prstGeom>
        </p:spPr>
      </p:pic>
      <p:pic>
        <p:nvPicPr>
          <p:cNvPr id="1159575974" name="Logo" descr="{&quot;templafy&quot;:{&quot;id&quot;:&quot;eba89f12-16df-43d3-a08a-ef84b1989bfe&quot;}}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0000" y="6427334"/>
            <a:ext cx="1623600" cy="150433"/>
          </a:xfrm>
          <a:prstGeom prst="rect">
            <a:avLst/>
          </a:prstGeom>
        </p:spPr>
      </p:pic>
      <p:sp>
        <p:nvSpPr>
          <p:cNvPr id="8" name="Subtitle">
            <a:extLst>
              <a:ext uri="{FF2B5EF4-FFF2-40B4-BE49-F238E27FC236}">
                <a16:creationId xmlns:a16="http://schemas.microsoft.com/office/drawing/2014/main" id="{1F1785A2-3388-8DD0-5D42-21303BE223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0F11DF99-32FF-3455-A16F-CFEADF6781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939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102625" name="Logo" descr="{&quot;templafy&quot;:{&quot;id&quot;:&quot;b66e35c3-f3ef-4fc5-bb7d-094fc6b3d112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sp>
        <p:nvSpPr>
          <p:cNvPr id="2" name="Subtitle">
            <a:extLst>
              <a:ext uri="{FF2B5EF4-FFF2-40B4-BE49-F238E27FC236}">
                <a16:creationId xmlns:a16="http://schemas.microsoft.com/office/drawing/2014/main" id="{E1478291-93B3-295B-9523-6F504E7E2C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307AAEF-60B2-6C2B-0478-A46522BCC3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632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4141607" name="Logo" descr="{&quot;templafy&quot;:{&quot;id&quot;:&quot;1939b12f-207a-4349-b393-d202187f6a9c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sp>
        <p:nvSpPr>
          <p:cNvPr id="2" name="Subtitle">
            <a:extLst>
              <a:ext uri="{FF2B5EF4-FFF2-40B4-BE49-F238E27FC236}">
                <a16:creationId xmlns:a16="http://schemas.microsoft.com/office/drawing/2014/main" id="{4BFFA987-EE36-893D-F744-E6E6A35E5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18E49C7B-0525-548F-330F-DF474F073A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62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Yell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908461" name="Logo" descr="{&quot;templafy&quot;:{&quot;id&quot;:&quot;66e8edb1-f660-446d-9f73-b41988d830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4"/>
            <a:ext cx="1623600" cy="150433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75E7532A-62DB-A940-08F3-1E01B1A7D3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C6A9DB4C-1984-B2B2-4473-DB5BF9420BE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CA9428E6-3B0F-3016-2234-181895E2C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423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8838897" name="Logo" descr="{&quot;templafy&quot;:{&quot;id&quot;:&quot;d9f1af56-1644-4c7b-8402-95bf733caeb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0" y="6427332"/>
            <a:ext cx="1623600" cy="149834"/>
          </a:xfrm>
          <a:prstGeom prst="rect">
            <a:avLst/>
          </a:prstGeom>
        </p:spPr>
      </p:pic>
      <p:sp>
        <p:nvSpPr>
          <p:cNvPr id="10" name="Subtitle">
            <a:extLst>
              <a:ext uri="{FF2B5EF4-FFF2-40B4-BE49-F238E27FC236}">
                <a16:creationId xmlns:a16="http://schemas.microsoft.com/office/drawing/2014/main" id="{BE639545-420E-1E7F-6A97-7C1759031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3" y="3429000"/>
            <a:ext cx="7577139" cy="1620000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3600">
                <a:latin typeface="+mn-lt"/>
              </a:defRPr>
            </a:lvl2pPr>
            <a:lvl3pPr marL="0" indent="0">
              <a:buNone/>
              <a:defRPr sz="3600">
                <a:latin typeface="+mn-lt"/>
              </a:defRPr>
            </a:lvl3pPr>
            <a:lvl4pPr marL="0" indent="0">
              <a:buNone/>
              <a:defRPr sz="3600">
                <a:latin typeface="+mn-lt"/>
              </a:defRPr>
            </a:lvl4pPr>
            <a:lvl5pPr marL="0" indent="0">
              <a:buNone/>
              <a:defRPr sz="3600">
                <a:latin typeface="+mn-lt"/>
              </a:defRPr>
            </a:lvl5pPr>
            <a:lvl6pPr marL="0" indent="0">
              <a:buNone/>
              <a:defRPr sz="3600"/>
            </a:lvl6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B858E4DF-75E5-CDB1-0E5B-52186C604E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5" y="1798639"/>
            <a:ext cx="7577140" cy="1630363"/>
          </a:xfrm>
        </p:spPr>
        <p:txBody>
          <a:bodyPr anchor="ctr" anchorCtr="0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522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E25C-FB1F-3BDC-5F97-BBF48ECA1F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157BA5-8D08-E68C-0692-9F0875727D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A11F18-4903-91FC-B0F9-79CEACB90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0D705B-BE29-3C83-F305-A393E247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967AAD-99E7-7BC0-052F-55E9561FA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5080082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" name="Straight Connector">
            <a:extLst>
              <a:ext uri="{FF2B5EF4-FFF2-40B4-BE49-F238E27FC236}">
                <a16:creationId xmlns:a16="http://schemas.microsoft.com/office/drawing/2014/main" id="{9DB3AB84-4B0E-7C8F-BE5A-07B67D21384B}"/>
              </a:ext>
            </a:extLst>
          </p:cNvPr>
          <p:cNvCxnSpPr>
            <a:cxnSpLocks/>
          </p:cNvCxnSpPr>
          <p:nvPr userDrawn="1"/>
        </p:nvCxnSpPr>
        <p:spPr>
          <a:xfrm>
            <a:off x="358777" y="1363482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000" y="1584000"/>
            <a:ext cx="114696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397079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" name="Straight Connector 2">
            <a:extLst>
              <a:ext uri="{FF2B5EF4-FFF2-40B4-BE49-F238E27FC236}">
                <a16:creationId xmlns:a16="http://schemas.microsoft.com/office/drawing/2014/main" id="{98EDE23C-40F3-6862-02D8-57FF686490C4}"/>
              </a:ext>
            </a:extLst>
          </p:cNvPr>
          <p:cNvCxnSpPr>
            <a:cxnSpLocks/>
          </p:cNvCxnSpPr>
          <p:nvPr userDrawn="1"/>
        </p:nvCxnSpPr>
        <p:spPr>
          <a:xfrm>
            <a:off x="6203951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1">
            <a:extLst>
              <a:ext uri="{FF2B5EF4-FFF2-40B4-BE49-F238E27FC236}">
                <a16:creationId xmlns:a16="http://schemas.microsoft.com/office/drawing/2014/main" id="{08C05738-B344-A3B1-D1EB-4897676537D4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41" y="1584002"/>
            <a:ext cx="5627999" cy="4332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5" y="1584002"/>
            <a:ext cx="5627999" cy="4332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426901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&amp;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8" name="Straight Connector 2">
            <a:extLst>
              <a:ext uri="{FF2B5EF4-FFF2-40B4-BE49-F238E27FC236}">
                <a16:creationId xmlns:a16="http://schemas.microsoft.com/office/drawing/2014/main" id="{217714BE-1C26-362F-AAA5-0880BD56FA15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363482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">
            <a:extLst>
              <a:ext uri="{FF2B5EF4-FFF2-40B4-BE49-F238E27FC236}">
                <a16:creationId xmlns:a16="http://schemas.microsoft.com/office/drawing/2014/main" id="{B20D6673-E8EE-CF7C-27CF-CDF59FB871F6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36791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584000"/>
            <a:ext cx="75744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584000"/>
            <a:ext cx="36792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863776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2" name="Straight Connector 4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1" y="37658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6" y="37658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2">
            <a:extLst>
              <a:ext uri="{FF2B5EF4-FFF2-40B4-BE49-F238E27FC236}">
                <a16:creationId xmlns:a16="http://schemas.microsoft.com/office/drawing/2014/main" id="{0F846D38-E858-F0D4-E637-5ECC6FF4945E}"/>
              </a:ext>
            </a:extLst>
          </p:cNvPr>
          <p:cNvCxnSpPr>
            <a:cxnSpLocks/>
          </p:cNvCxnSpPr>
          <p:nvPr userDrawn="1"/>
        </p:nvCxnSpPr>
        <p:spPr>
          <a:xfrm>
            <a:off x="6203951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">
            <a:extLst>
              <a:ext uri="{FF2B5EF4-FFF2-40B4-BE49-F238E27FC236}">
                <a16:creationId xmlns:a16="http://schemas.microsoft.com/office/drawing/2014/main" id="{C95D5B98-B1D6-D60A-55F2-D0A3F686D2E4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2" y="3906676"/>
            <a:ext cx="5626100" cy="2052000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3906676"/>
            <a:ext cx="5626800" cy="2052000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2" y="1584001"/>
            <a:ext cx="5626100" cy="2051999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584000"/>
            <a:ext cx="5626800" cy="205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175817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B47BBB1-C861-0D63-0884-5796EA2A2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5400"/>
            </a:lvl1pPr>
            <a:lvl2pPr marL="0" indent="0">
              <a:buNone/>
              <a:defRPr sz="5400"/>
            </a:lvl2pPr>
            <a:lvl3pPr marL="0" indent="0">
              <a:buNone/>
              <a:defRPr sz="5400"/>
            </a:lvl3pPr>
            <a:lvl4pPr marL="0" indent="0">
              <a:buNone/>
              <a:defRPr sz="5400"/>
            </a:lvl4pPr>
            <a:lvl5pPr marL="0" indent="0">
              <a:buNone/>
              <a:defRPr sz="54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5400"/>
            </a:lvl1pPr>
            <a:lvl2pPr marL="0" indent="0">
              <a:buNone/>
              <a:defRPr sz="5400"/>
            </a:lvl2pPr>
            <a:lvl3pPr marL="0" indent="0">
              <a:buNone/>
              <a:defRPr sz="5400"/>
            </a:lvl3pPr>
            <a:lvl4pPr marL="0" indent="0">
              <a:buNone/>
              <a:defRPr sz="5400"/>
            </a:lvl4pPr>
            <a:lvl5pPr marL="0" indent="0">
              <a:buNone/>
              <a:defRPr sz="54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2" y="5080500"/>
            <a:ext cx="3678237" cy="877888"/>
          </a:xfrm>
        </p:spPr>
        <p:txBody>
          <a:bodyPr/>
          <a:lstStyle>
            <a:lvl1pPr marL="0" indent="0">
              <a:buNone/>
              <a:defRPr sz="5400"/>
            </a:lvl1pPr>
            <a:lvl2pPr marL="0" indent="0">
              <a:buNone/>
              <a:defRPr sz="5400"/>
            </a:lvl2pPr>
            <a:lvl3pPr marL="0" indent="0">
              <a:buNone/>
              <a:defRPr sz="5400"/>
            </a:lvl3pPr>
            <a:lvl4pPr marL="0" indent="0">
              <a:buNone/>
              <a:defRPr sz="5400"/>
            </a:lvl4pPr>
            <a:lvl5pPr marL="0" indent="0">
              <a:buNone/>
              <a:defRPr sz="54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6" name="Text 3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90" y="3463303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13" name="Text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3" name="Text 1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40" y="3463303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90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9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1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7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3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4" y="1817890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</a:t>
            </a:r>
            <a:endParaRPr lang="en-US"/>
          </a:p>
          <a:p>
            <a:r>
              <a:rPr lang="en-US" dirty="0"/>
              <a:t>or image</a:t>
            </a:r>
            <a:endParaRPr lang="en-US"/>
          </a:p>
        </p:txBody>
      </p:sp>
      <p:sp>
        <p:nvSpPr>
          <p:cNvPr id="15" name="Picture 2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90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</a:t>
            </a:r>
            <a:endParaRPr lang="en-US"/>
          </a:p>
          <a:p>
            <a:r>
              <a:rPr lang="en-US" dirty="0"/>
              <a:t>or image</a:t>
            </a:r>
            <a:endParaRPr lang="en-US"/>
          </a:p>
        </p:txBody>
      </p:sp>
      <p:sp>
        <p:nvSpPr>
          <p:cNvPr id="12" name="Picture 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4" y="1817890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</a:t>
            </a:r>
            <a:endParaRPr lang="en-US"/>
          </a:p>
          <a:p>
            <a:r>
              <a:rPr lang="en-US" dirty="0"/>
              <a:t>or image</a:t>
            </a:r>
            <a:endParaRPr lang="en-US"/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36708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E7C992-DFED-5A58-BF5D-322AB41CA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cxnSp>
        <p:nvCxnSpPr>
          <p:cNvPr id="27" name="Straight Connector 3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4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1" y="3027363"/>
            <a:ext cx="2706688" cy="2930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3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49" y="3027365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4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1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5"/>
            <a:ext cx="2706688" cy="2930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7200">
                <a:latin typeface="+mj-lt"/>
              </a:defRPr>
            </a:lvl1pPr>
            <a:lvl2pPr marL="0" indent="0">
              <a:buNone/>
              <a:defRPr sz="7200">
                <a:latin typeface="+mj-lt"/>
              </a:defRPr>
            </a:lvl2pPr>
            <a:lvl3pPr marL="0" indent="0">
              <a:buNone/>
              <a:defRPr sz="7200">
                <a:latin typeface="+mj-lt"/>
              </a:defRPr>
            </a:lvl3pPr>
            <a:lvl4pPr marL="0" indent="0">
              <a:buNone/>
              <a:defRPr sz="7200">
                <a:latin typeface="+mj-lt"/>
              </a:defRPr>
            </a:lvl4pPr>
            <a:lvl5pPr marL="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708392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0D438E6-44AE-1AE1-005B-3F8E6A4D0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2" y="4619567"/>
            <a:ext cx="3679999" cy="1331120"/>
          </a:xfrm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7" name="Quote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40" y="1450975"/>
            <a:ext cx="7577137" cy="2497138"/>
          </a:xfrm>
        </p:spPr>
        <p:txBody>
          <a:bodyPr anchor="ctr" anchorCtr="0"/>
          <a:lstStyle>
            <a:lvl1pPr marL="0" indent="0" algn="ctr">
              <a:buNone/>
              <a:defRPr sz="3600"/>
            </a:lvl1pPr>
            <a:lvl2pPr marL="0" indent="0" algn="ctr">
              <a:buNone/>
              <a:defRPr sz="2400">
                <a:latin typeface="+mj-lt"/>
              </a:defRPr>
            </a:lvl2pPr>
            <a:lvl3pPr marL="0" indent="0" algn="ctr">
              <a:buNone/>
              <a:defRPr sz="1800">
                <a:latin typeface="+mj-lt"/>
              </a:defRPr>
            </a:lvl3pPr>
            <a:lvl4pPr marL="0" indent="0" algn="ctr">
              <a:buNone/>
              <a:defRPr sz="15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30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3">
            <a:extLst>
              <a:ext uri="{FF2B5EF4-FFF2-40B4-BE49-F238E27FC236}">
                <a16:creationId xmlns:a16="http://schemas.microsoft.com/office/drawing/2014/main" id="{AEAD339E-96C1-896B-0F67-589397A4ED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8717962" y="4099090"/>
            <a:ext cx="3474039" cy="2758910"/>
          </a:xfrm>
          <a:prstGeom prst="rect">
            <a:avLst/>
          </a:prstGeom>
        </p:spPr>
      </p:pic>
      <p:pic>
        <p:nvPicPr>
          <p:cNvPr id="11" name="Graphic 2">
            <a:extLst>
              <a:ext uri="{FF2B5EF4-FFF2-40B4-BE49-F238E27FC236}">
                <a16:creationId xmlns:a16="http://schemas.microsoft.com/office/drawing/2014/main" id="{25F4A53F-53F4-68B2-6491-D64857156D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H="1">
            <a:off x="6022109" y="0"/>
            <a:ext cx="6169891" cy="3172532"/>
          </a:xfrm>
          <a:prstGeom prst="rect">
            <a:avLst/>
          </a:prstGeom>
        </p:spPr>
      </p:pic>
      <p:pic>
        <p:nvPicPr>
          <p:cNvPr id="6" name="Graphic 1">
            <a:extLst>
              <a:ext uri="{FF2B5EF4-FFF2-40B4-BE49-F238E27FC236}">
                <a16:creationId xmlns:a16="http://schemas.microsoft.com/office/drawing/2014/main" id="{68B83754-8084-E3AB-7EA7-FA209E801C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" r="20720" b="13037"/>
          <a:stretch/>
        </p:blipFill>
        <p:spPr>
          <a:xfrm rot="10800000" flipV="1">
            <a:off x="-1" y="4120825"/>
            <a:ext cx="4891457" cy="2758910"/>
          </a:xfrm>
          <a:prstGeom prst="rect">
            <a:avLst/>
          </a:prstGeom>
        </p:spPr>
      </p:pic>
      <p:sp>
        <p:nvSpPr>
          <p:cNvPr id="10" name="Source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2" y="4619567"/>
            <a:ext cx="3679999" cy="1331120"/>
          </a:xfrm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3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7" name="Quote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40" y="1450975"/>
            <a:ext cx="7577137" cy="2497138"/>
          </a:xfrm>
        </p:spPr>
        <p:txBody>
          <a:bodyPr anchor="ctr" anchorCtr="0"/>
          <a:lstStyle>
            <a:lvl1pPr marL="0" indent="0" algn="ctr">
              <a:buNone/>
              <a:defRPr sz="3600"/>
            </a:lvl1pPr>
            <a:lvl2pPr marL="0" indent="0" algn="ctr">
              <a:buNone/>
              <a:defRPr sz="2400">
                <a:latin typeface="+mj-lt"/>
              </a:defRPr>
            </a:lvl2pPr>
            <a:lvl3pPr marL="0" indent="0" algn="ctr">
              <a:buNone/>
              <a:defRPr sz="1800">
                <a:latin typeface="+mj-lt"/>
              </a:defRPr>
            </a:lvl3pPr>
            <a:lvl4pPr marL="0" indent="0" algn="ctr">
              <a:buNone/>
              <a:defRPr sz="15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062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l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0">
            <a:extLst>
              <a:ext uri="{FF2B5EF4-FFF2-40B4-BE49-F238E27FC236}">
                <a16:creationId xmlns:a16="http://schemas.microsoft.com/office/drawing/2014/main" id="{CBD33412-F9C0-5229-E9FE-FED1FC905E88}"/>
              </a:ext>
            </a:extLst>
          </p:cNvPr>
          <p:cNvSpPr/>
          <p:nvPr userDrawn="1"/>
        </p:nvSpPr>
        <p:spPr>
          <a:xfrm>
            <a:off x="1722656" y="4963704"/>
            <a:ext cx="481069" cy="48106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3" name="Oval 9">
            <a:extLst>
              <a:ext uri="{FF2B5EF4-FFF2-40B4-BE49-F238E27FC236}">
                <a16:creationId xmlns:a16="http://schemas.microsoft.com/office/drawing/2014/main" id="{374E75F2-641B-920F-8770-3F82FC716CB8}"/>
              </a:ext>
            </a:extLst>
          </p:cNvPr>
          <p:cNvSpPr/>
          <p:nvPr userDrawn="1"/>
        </p:nvSpPr>
        <p:spPr>
          <a:xfrm>
            <a:off x="975982" y="3109761"/>
            <a:ext cx="357679" cy="3576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4" name="Oval 8">
            <a:extLst>
              <a:ext uri="{FF2B5EF4-FFF2-40B4-BE49-F238E27FC236}">
                <a16:creationId xmlns:a16="http://schemas.microsoft.com/office/drawing/2014/main" id="{278F52FC-FC20-0FAB-289C-F741B5EC6C8A}"/>
              </a:ext>
            </a:extLst>
          </p:cNvPr>
          <p:cNvSpPr/>
          <p:nvPr userDrawn="1"/>
        </p:nvSpPr>
        <p:spPr>
          <a:xfrm>
            <a:off x="7382374" y="953166"/>
            <a:ext cx="1867981" cy="1867981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id="{EEF0A11E-C1AA-F902-32AB-D5EF5E058E83}"/>
              </a:ext>
            </a:extLst>
          </p:cNvPr>
          <p:cNvSpPr/>
          <p:nvPr userDrawn="1"/>
        </p:nvSpPr>
        <p:spPr>
          <a:xfrm>
            <a:off x="9456205" y="2344113"/>
            <a:ext cx="477033" cy="4770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6" name="Oval 6">
            <a:extLst>
              <a:ext uri="{FF2B5EF4-FFF2-40B4-BE49-F238E27FC236}">
                <a16:creationId xmlns:a16="http://schemas.microsoft.com/office/drawing/2014/main" id="{4E662005-C1A4-FC15-3489-EBC12ABF9617}"/>
              </a:ext>
            </a:extLst>
          </p:cNvPr>
          <p:cNvSpPr/>
          <p:nvPr userDrawn="1"/>
        </p:nvSpPr>
        <p:spPr>
          <a:xfrm>
            <a:off x="10934700" y="3759983"/>
            <a:ext cx="240019" cy="240018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BFE347A-D4F0-9F77-89BC-3CA8CBBD8298}"/>
              </a:ext>
            </a:extLst>
          </p:cNvPr>
          <p:cNvSpPr/>
          <p:nvPr userDrawn="1"/>
        </p:nvSpPr>
        <p:spPr>
          <a:xfrm>
            <a:off x="2258764" y="1450975"/>
            <a:ext cx="4296755" cy="429675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9" name="Oval 4">
            <a:extLst>
              <a:ext uri="{FF2B5EF4-FFF2-40B4-BE49-F238E27FC236}">
                <a16:creationId xmlns:a16="http://schemas.microsoft.com/office/drawing/2014/main" id="{5723E6A6-88AB-77FC-6E24-A4AC412E36AE}"/>
              </a:ext>
            </a:extLst>
          </p:cNvPr>
          <p:cNvSpPr/>
          <p:nvPr userDrawn="1"/>
        </p:nvSpPr>
        <p:spPr>
          <a:xfrm>
            <a:off x="6921587" y="3378542"/>
            <a:ext cx="3170325" cy="31703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1" name="Oval 2">
            <a:extLst>
              <a:ext uri="{FF2B5EF4-FFF2-40B4-BE49-F238E27FC236}">
                <a16:creationId xmlns:a16="http://schemas.microsoft.com/office/drawing/2014/main" id="{1110F8AA-58CD-F3AC-44AE-8DB9F935671C}"/>
              </a:ext>
            </a:extLst>
          </p:cNvPr>
          <p:cNvSpPr/>
          <p:nvPr userDrawn="1"/>
        </p:nvSpPr>
        <p:spPr>
          <a:xfrm>
            <a:off x="2055641" y="1863044"/>
            <a:ext cx="962139" cy="9621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3" name="Oval 1">
            <a:extLst>
              <a:ext uri="{FF2B5EF4-FFF2-40B4-BE49-F238E27FC236}">
                <a16:creationId xmlns:a16="http://schemas.microsoft.com/office/drawing/2014/main" id="{6DD1E304-AE31-B71D-DF4A-D7CE728A9322}"/>
              </a:ext>
            </a:extLst>
          </p:cNvPr>
          <p:cNvSpPr/>
          <p:nvPr userDrawn="1"/>
        </p:nvSpPr>
        <p:spPr>
          <a:xfrm>
            <a:off x="3048174" y="414339"/>
            <a:ext cx="6029325" cy="602932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17" name="Oval 3">
            <a:extLst>
              <a:ext uri="{FF2B5EF4-FFF2-40B4-BE49-F238E27FC236}">
                <a16:creationId xmlns:a16="http://schemas.microsoft.com/office/drawing/2014/main" id="{06CC9643-273E-F9AE-D7FD-3047590242AF}"/>
              </a:ext>
            </a:extLst>
          </p:cNvPr>
          <p:cNvSpPr/>
          <p:nvPr userDrawn="1"/>
        </p:nvSpPr>
        <p:spPr>
          <a:xfrm>
            <a:off x="8059535" y="4694077"/>
            <a:ext cx="894429" cy="89442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50" dirty="0" err="1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2" y="5153891"/>
            <a:ext cx="3679999" cy="796796"/>
          </a:xfrm>
        </p:spPr>
        <p:txBody>
          <a:bodyPr anchor="t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7" name="Quote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8960" y="1450975"/>
            <a:ext cx="5968539" cy="3413990"/>
          </a:xfrm>
        </p:spPr>
        <p:txBody>
          <a:bodyPr anchor="ctr" anchorCtr="0"/>
          <a:lstStyle>
            <a:lvl1pPr marL="0" indent="0" algn="ctr">
              <a:buNone/>
              <a:defRPr sz="3600"/>
            </a:lvl1pPr>
            <a:lvl2pPr marL="0" indent="0" algn="ctr">
              <a:buNone/>
              <a:defRPr sz="2400">
                <a:latin typeface="+mj-lt"/>
              </a:defRPr>
            </a:lvl2pPr>
            <a:lvl3pPr marL="0" indent="0" algn="ctr">
              <a:buNone/>
              <a:defRPr sz="1800">
                <a:latin typeface="+mj-lt"/>
              </a:defRPr>
            </a:lvl3pPr>
            <a:lvl4pPr marL="0" indent="0" algn="ctr">
              <a:buNone/>
              <a:defRPr sz="15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43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lu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53613299-2C19-4C4B-E3BC-EF29877FB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grpSp>
        <p:nvGrpSpPr>
          <p:cNvPr id="13" name="Yellow circle cluster">
            <a:extLst>
              <a:ext uri="{FF2B5EF4-FFF2-40B4-BE49-F238E27FC236}">
                <a16:creationId xmlns:a16="http://schemas.microsoft.com/office/drawing/2014/main" id="{C5057963-59B1-DC7E-3609-340FD77F190F}"/>
              </a:ext>
            </a:extLst>
          </p:cNvPr>
          <p:cNvGrpSpPr/>
          <p:nvPr userDrawn="1"/>
        </p:nvGrpSpPr>
        <p:grpSpPr>
          <a:xfrm>
            <a:off x="8373479" y="1867058"/>
            <a:ext cx="3464688" cy="4194223"/>
            <a:chOff x="8373478" y="1867056"/>
            <a:chExt cx="3464688" cy="4194223"/>
          </a:xfrm>
        </p:grpSpPr>
        <p:sp>
          <p:nvSpPr>
            <p:cNvPr id="34" name="Oval 10">
              <a:extLst>
                <a:ext uri="{FF2B5EF4-FFF2-40B4-BE49-F238E27FC236}">
                  <a16:creationId xmlns:a16="http://schemas.microsoft.com/office/drawing/2014/main" id="{9A6A11E8-436C-489C-47A6-CA772C63AD00}"/>
                </a:ext>
              </a:extLst>
            </p:cNvPr>
            <p:cNvSpPr/>
            <p:nvPr userDrawn="1"/>
          </p:nvSpPr>
          <p:spPr>
            <a:xfrm>
              <a:off x="8449729" y="1867056"/>
              <a:ext cx="2617223" cy="261722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0" name="Oval 10">
              <a:extLst>
                <a:ext uri="{FF2B5EF4-FFF2-40B4-BE49-F238E27FC236}">
                  <a16:creationId xmlns:a16="http://schemas.microsoft.com/office/drawing/2014/main" id="{84E52981-ECDB-6FB2-BC70-F32C95DA1040}"/>
                </a:ext>
              </a:extLst>
            </p:cNvPr>
            <p:cNvSpPr/>
            <p:nvPr userDrawn="1"/>
          </p:nvSpPr>
          <p:spPr>
            <a:xfrm>
              <a:off x="10105822" y="2298726"/>
              <a:ext cx="1701315" cy="17013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1" name="Oval 12">
              <a:extLst>
                <a:ext uri="{FF2B5EF4-FFF2-40B4-BE49-F238E27FC236}">
                  <a16:creationId xmlns:a16="http://schemas.microsoft.com/office/drawing/2014/main" id="{5F97E262-9B74-4FDA-C81A-5DF503762462}"/>
                </a:ext>
              </a:extLst>
            </p:cNvPr>
            <p:cNvSpPr/>
            <p:nvPr userDrawn="1"/>
          </p:nvSpPr>
          <p:spPr>
            <a:xfrm>
              <a:off x="8901051" y="3258261"/>
              <a:ext cx="2803018" cy="280301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2" name="Oval 13">
              <a:extLst>
                <a:ext uri="{FF2B5EF4-FFF2-40B4-BE49-F238E27FC236}">
                  <a16:creationId xmlns:a16="http://schemas.microsoft.com/office/drawing/2014/main" id="{E5302E9D-A329-39F7-620D-0440E31DC6ED}"/>
                </a:ext>
              </a:extLst>
            </p:cNvPr>
            <p:cNvSpPr/>
            <p:nvPr userDrawn="1"/>
          </p:nvSpPr>
          <p:spPr>
            <a:xfrm>
              <a:off x="8373478" y="2303159"/>
              <a:ext cx="3464688" cy="346468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33" name="Oval 15">
              <a:extLst>
                <a:ext uri="{FF2B5EF4-FFF2-40B4-BE49-F238E27FC236}">
                  <a16:creationId xmlns:a16="http://schemas.microsoft.com/office/drawing/2014/main" id="{944A2F2B-8CF3-659C-C456-0974033BFA8E}"/>
                </a:ext>
              </a:extLst>
            </p:cNvPr>
            <p:cNvSpPr/>
            <p:nvPr userDrawn="1"/>
          </p:nvSpPr>
          <p:spPr>
            <a:xfrm>
              <a:off x="8721365" y="2680838"/>
              <a:ext cx="359371" cy="359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2" name="Blue circle cluster">
            <a:extLst>
              <a:ext uri="{FF2B5EF4-FFF2-40B4-BE49-F238E27FC236}">
                <a16:creationId xmlns:a16="http://schemas.microsoft.com/office/drawing/2014/main" id="{C81D7D4F-8C7D-400A-189D-B4C72AA14DDD}"/>
              </a:ext>
            </a:extLst>
          </p:cNvPr>
          <p:cNvGrpSpPr/>
          <p:nvPr userDrawn="1"/>
        </p:nvGrpSpPr>
        <p:grpSpPr>
          <a:xfrm>
            <a:off x="4363657" y="1975478"/>
            <a:ext cx="3789219" cy="3975014"/>
            <a:chOff x="4363656" y="1975478"/>
            <a:chExt cx="3789219" cy="3975014"/>
          </a:xfrm>
        </p:grpSpPr>
        <p:sp>
          <p:nvSpPr>
            <p:cNvPr id="25" name="Oval 10">
              <a:extLst>
                <a:ext uri="{FF2B5EF4-FFF2-40B4-BE49-F238E27FC236}">
                  <a16:creationId xmlns:a16="http://schemas.microsoft.com/office/drawing/2014/main" id="{65AE374A-1E35-DCEE-FB12-C1CCEE1FE039}"/>
                </a:ext>
              </a:extLst>
            </p:cNvPr>
            <p:cNvSpPr/>
            <p:nvPr userDrawn="1"/>
          </p:nvSpPr>
          <p:spPr>
            <a:xfrm>
              <a:off x="5084330" y="1975478"/>
              <a:ext cx="2617223" cy="26172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Oval 11">
              <a:extLst>
                <a:ext uri="{FF2B5EF4-FFF2-40B4-BE49-F238E27FC236}">
                  <a16:creationId xmlns:a16="http://schemas.microsoft.com/office/drawing/2014/main" id="{5CEEFF85-CC80-FC60-6B31-8827C2AC42F1}"/>
                </a:ext>
              </a:extLst>
            </p:cNvPr>
            <p:cNvSpPr/>
            <p:nvPr userDrawn="1"/>
          </p:nvSpPr>
          <p:spPr>
            <a:xfrm>
              <a:off x="5535653" y="3236362"/>
              <a:ext cx="2617222" cy="261722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" name="Oval 12">
              <a:extLst>
                <a:ext uri="{FF2B5EF4-FFF2-40B4-BE49-F238E27FC236}">
                  <a16:creationId xmlns:a16="http://schemas.microsoft.com/office/drawing/2014/main" id="{1A63A129-6ED0-1F04-4583-556F752EF02C}"/>
                </a:ext>
              </a:extLst>
            </p:cNvPr>
            <p:cNvSpPr/>
            <p:nvPr userDrawn="1"/>
          </p:nvSpPr>
          <p:spPr>
            <a:xfrm>
              <a:off x="4454293" y="4097798"/>
              <a:ext cx="1852694" cy="185269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" name="Oval 13">
              <a:extLst>
                <a:ext uri="{FF2B5EF4-FFF2-40B4-BE49-F238E27FC236}">
                  <a16:creationId xmlns:a16="http://schemas.microsoft.com/office/drawing/2014/main" id="{5B4054C6-424E-9434-97F0-894B18C1E4AA}"/>
                </a:ext>
              </a:extLst>
            </p:cNvPr>
            <p:cNvSpPr/>
            <p:nvPr userDrawn="1"/>
          </p:nvSpPr>
          <p:spPr>
            <a:xfrm>
              <a:off x="4363656" y="2303159"/>
              <a:ext cx="3464688" cy="34646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29" name="Oval 15">
              <a:extLst>
                <a:ext uri="{FF2B5EF4-FFF2-40B4-BE49-F238E27FC236}">
                  <a16:creationId xmlns:a16="http://schemas.microsoft.com/office/drawing/2014/main" id="{E600627C-8A79-974D-E534-04B8CA3E1F14}"/>
                </a:ext>
              </a:extLst>
            </p:cNvPr>
            <p:cNvSpPr/>
            <p:nvPr userDrawn="1"/>
          </p:nvSpPr>
          <p:spPr>
            <a:xfrm>
              <a:off x="6977095" y="5177543"/>
              <a:ext cx="359371" cy="359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" name="Red circle cluster">
            <a:extLst>
              <a:ext uri="{FF2B5EF4-FFF2-40B4-BE49-F238E27FC236}">
                <a16:creationId xmlns:a16="http://schemas.microsoft.com/office/drawing/2014/main" id="{7FFFAD14-14C4-22CA-8917-95871DE98192}"/>
              </a:ext>
            </a:extLst>
          </p:cNvPr>
          <p:cNvGrpSpPr/>
          <p:nvPr userDrawn="1"/>
        </p:nvGrpSpPr>
        <p:grpSpPr>
          <a:xfrm>
            <a:off x="353833" y="1871631"/>
            <a:ext cx="3561131" cy="4189648"/>
            <a:chOff x="353834" y="1871631"/>
            <a:chExt cx="3561130" cy="4189648"/>
          </a:xfrm>
        </p:grpSpPr>
        <p:sp>
          <p:nvSpPr>
            <p:cNvPr id="3" name="Oval 10">
              <a:extLst>
                <a:ext uri="{FF2B5EF4-FFF2-40B4-BE49-F238E27FC236}">
                  <a16:creationId xmlns:a16="http://schemas.microsoft.com/office/drawing/2014/main" id="{9319F740-1857-50E1-C47E-1DD95B60ABC0}"/>
                </a:ext>
              </a:extLst>
            </p:cNvPr>
            <p:cNvSpPr/>
            <p:nvPr/>
          </p:nvSpPr>
          <p:spPr>
            <a:xfrm>
              <a:off x="358808" y="1871631"/>
              <a:ext cx="2617223" cy="261722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" name="Oval 11">
              <a:extLst>
                <a:ext uri="{FF2B5EF4-FFF2-40B4-BE49-F238E27FC236}">
                  <a16:creationId xmlns:a16="http://schemas.microsoft.com/office/drawing/2014/main" id="{0EAF440A-DDF1-D9B9-3F49-8F374BF8058E}"/>
                </a:ext>
              </a:extLst>
            </p:cNvPr>
            <p:cNvSpPr/>
            <p:nvPr/>
          </p:nvSpPr>
          <p:spPr>
            <a:xfrm>
              <a:off x="644159" y="3772565"/>
              <a:ext cx="2288714" cy="22887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Oval 12">
              <a:extLst>
                <a:ext uri="{FF2B5EF4-FFF2-40B4-BE49-F238E27FC236}">
                  <a16:creationId xmlns:a16="http://schemas.microsoft.com/office/drawing/2014/main" id="{F88693D0-D35A-AD2D-C55B-E3C4F36DB5CD}"/>
                </a:ext>
              </a:extLst>
            </p:cNvPr>
            <p:cNvSpPr/>
            <p:nvPr/>
          </p:nvSpPr>
          <p:spPr>
            <a:xfrm>
              <a:off x="1760891" y="2413494"/>
              <a:ext cx="2154073" cy="215407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" name="Oval 13">
              <a:extLst>
                <a:ext uri="{FF2B5EF4-FFF2-40B4-BE49-F238E27FC236}">
                  <a16:creationId xmlns:a16="http://schemas.microsoft.com/office/drawing/2014/main" id="{DC49DB85-C79B-F96D-2CE6-F93152842489}"/>
                </a:ext>
              </a:extLst>
            </p:cNvPr>
            <p:cNvSpPr/>
            <p:nvPr/>
          </p:nvSpPr>
          <p:spPr>
            <a:xfrm>
              <a:off x="353834" y="2303159"/>
              <a:ext cx="3464688" cy="34646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AFDF44ED-B6BC-D8C5-2EF5-676E2AFF20B9}"/>
                </a:ext>
              </a:extLst>
            </p:cNvPr>
            <p:cNvSpPr/>
            <p:nvPr/>
          </p:nvSpPr>
          <p:spPr>
            <a:xfrm>
              <a:off x="1415086" y="2178181"/>
              <a:ext cx="470626" cy="4706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8CF131F-284F-1B80-D252-0B97A67B9B8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983253" y="2772583"/>
            <a:ext cx="2245140" cy="2525840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A78C65-B96A-C40F-C830-3419105BE1F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973431" y="2772583"/>
            <a:ext cx="2245140" cy="2525840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858E4738-6AC8-22AE-216A-09AFC863B1D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63609" y="2772583"/>
            <a:ext cx="2245140" cy="2525840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819936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ED8BB-8EDC-E8E0-B06A-B72C79E05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289772-EAF8-E28C-F876-57814A3007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9778E2-AA57-8783-A1C1-0D548F0A0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B33C9-1015-1F4B-12A3-956ACD535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1F3A2C-31EE-5BE7-831E-B0FDA1A2B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6994010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 Righ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49" y="0"/>
            <a:ext cx="5988051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584000"/>
            <a:ext cx="5626800" cy="433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4CC74F80-B417-A075-A844-EC4164E4E5B7}"/>
              </a:ext>
            </a:extLst>
          </p:cNvPr>
          <p:cNvCxnSpPr>
            <a:cxnSpLocks/>
          </p:cNvCxnSpPr>
          <p:nvPr userDrawn="1"/>
        </p:nvCxnSpPr>
        <p:spPr>
          <a:xfrm>
            <a:off x="358776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2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69503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 Lef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5988051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18752D61-3823-C73A-3CFE-9C22496DF47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4001" y="1584000"/>
            <a:ext cx="5626800" cy="4330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cxnSp>
        <p:nvCxnSpPr>
          <p:cNvPr id="7" name="Straight Connector">
            <a:extLst>
              <a:ext uri="{FF2B5EF4-FFF2-40B4-BE49-F238E27FC236}">
                <a16:creationId xmlns:a16="http://schemas.microsoft.com/office/drawing/2014/main" id="{5947D142-1FAA-A2E2-CD98-295822FEF9DB}"/>
              </a:ext>
            </a:extLst>
          </p:cNvPr>
          <p:cNvCxnSpPr>
            <a:cxnSpLocks/>
          </p:cNvCxnSpPr>
          <p:nvPr userDrawn="1"/>
        </p:nvCxnSpPr>
        <p:spPr>
          <a:xfrm>
            <a:off x="6204313" y="1363482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>
            <a:extLst>
              <a:ext uri="{FF2B5EF4-FFF2-40B4-BE49-F238E27FC236}">
                <a16:creationId xmlns:a16="http://schemas.microsoft.com/office/drawing/2014/main" id="{ACBFF27E-7ED4-AE11-37BD-3846954CB7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954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547944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Lef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7" y="0"/>
            <a:ext cx="9885363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3"/>
            <a:ext cx="1732000" cy="4081575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tabLst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11" name="Straight Connector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938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Bottom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8E895DAA-4BE2-2CCB-0C6F-4F2577F69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7"/>
            <a:ext cx="1732000" cy="1067313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11" name="Straight Connector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310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ated Photo with Lef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Picture Placeholder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50E17887-E4A4-6BA7-8524-7118864525F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3"/>
            <a:ext cx="1732000" cy="4081575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9" name="Straight Connector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28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ated Photo with Righ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icture Placeholder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3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340" name="Slide Number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3"/>
            <a:ext cx="1732000" cy="1051777"/>
          </a:xfrm>
        </p:spPr>
        <p:txBody>
          <a:bodyPr/>
          <a:lstStyle>
            <a:lvl1pPr marL="0" indent="0" defTabSz="1276350">
              <a:buFont typeface="Arial" panose="020B0604020202020204" pitchFamily="34" charset="0"/>
              <a:buNone/>
              <a:tabLst/>
              <a:defRPr sz="9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7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7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7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75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</a:t>
            </a:r>
            <a:endParaRPr lang="en-US"/>
          </a:p>
        </p:txBody>
      </p:sp>
      <p:cxnSp>
        <p:nvCxnSpPr>
          <p:cNvPr id="10" name="Straight Connector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758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with Treat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2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6" name="Job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7"/>
            <a:ext cx="5068888" cy="1133475"/>
          </a:xfrm>
        </p:spPr>
        <p:txBody>
          <a:bodyPr/>
          <a:lstStyle>
            <a:lvl1pPr marL="0" indent="0">
              <a:buNone/>
              <a:defRPr sz="2400">
                <a:latin typeface="+mn-lt"/>
              </a:defRPr>
            </a:lvl1pPr>
            <a:lvl2pPr marL="0" indent="0">
              <a:buNone/>
              <a:defRPr sz="2400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  <p:sp>
        <p:nvSpPr>
          <p:cNvPr id="12" name="Name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40"/>
            <a:ext cx="5068888" cy="496887"/>
          </a:xfrm>
        </p:spPr>
        <p:txBody>
          <a:bodyPr/>
          <a:lstStyle>
            <a:lvl1pPr marL="0" indent="0">
              <a:buNone/>
              <a:defRPr sz="2400"/>
            </a:lvl1pPr>
            <a:lvl2pPr marL="0" indent="0">
              <a:buNone/>
              <a:defRPr sz="2400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45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1" y="6203952"/>
            <a:ext cx="897300" cy="365125"/>
          </a:xfrm>
          <a:prstGeom prst="rect">
            <a:avLst/>
          </a:prstGeom>
        </p:spPr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6CCEF0C-98DF-2DFC-F585-30FD491A5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2" y="6203952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4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7" y="47663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2" y="47663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4" name="Text 2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4" y="47555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1" name="Text 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6" y="4762724"/>
            <a:ext cx="2705311" cy="1195164"/>
          </a:xfrm>
        </p:spPr>
        <p:txBody>
          <a:bodyPr/>
          <a:lstStyle>
            <a:lvl1pPr marL="0" indent="0">
              <a:buNone/>
              <a:defRPr sz="900"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 marL="0" indent="0">
              <a:buNone/>
              <a:defRPr sz="1200">
                <a:latin typeface="+mn-lt"/>
              </a:defRPr>
            </a:lvl3pPr>
            <a:lvl4pPr marL="0" indent="0">
              <a:buNone/>
              <a:defRPr sz="1200">
                <a:latin typeface="+mn-lt"/>
              </a:defRPr>
            </a:lvl4pPr>
            <a:lvl5pPr marL="0" indent="0">
              <a:buNone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cxnSp>
        <p:nvCxnSpPr>
          <p:cNvPr id="46" name="Straight Connector 8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1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6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5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Job 4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8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33" name="Job 3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3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31" name="Job 2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6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13" name="Job 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7" y="4315437"/>
            <a:ext cx="2705311" cy="180000"/>
          </a:xfrm>
        </p:spPr>
        <p:txBody>
          <a:bodyPr/>
          <a:lstStyle>
            <a:lvl1pPr marL="0" indent="0">
              <a:buNone/>
              <a:defRPr sz="900" baseline="0"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Title, Company</a:t>
            </a:r>
          </a:p>
        </p:txBody>
      </p:sp>
      <p:sp>
        <p:nvSpPr>
          <p:cNvPr id="34" name="Name 4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7" y="4046537"/>
            <a:ext cx="2705311" cy="180000"/>
          </a:xfrm>
        </p:spPr>
        <p:txBody>
          <a:bodyPr/>
          <a:lstStyle>
            <a:lvl1pPr marL="0" indent="0">
              <a:buNone/>
              <a:defRPr sz="938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sp>
        <p:nvSpPr>
          <p:cNvPr id="32" name="Name 3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3" y="4046537"/>
            <a:ext cx="2705311" cy="180000"/>
          </a:xfrm>
        </p:spPr>
        <p:txBody>
          <a:bodyPr/>
          <a:lstStyle>
            <a:lvl1pPr marL="0" indent="0">
              <a:buNone/>
              <a:defRPr sz="938" b="1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sp>
        <p:nvSpPr>
          <p:cNvPr id="30" name="Name 2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5" y="4046537"/>
            <a:ext cx="2705311" cy="180000"/>
          </a:xfrm>
        </p:spPr>
        <p:txBody>
          <a:bodyPr/>
          <a:lstStyle>
            <a:lvl1pPr marL="0" indent="0">
              <a:buNone/>
              <a:defRPr sz="938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sp>
        <p:nvSpPr>
          <p:cNvPr id="10" name="Name 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6" y="4046537"/>
            <a:ext cx="2705311" cy="180000"/>
          </a:xfrm>
        </p:spPr>
        <p:txBody>
          <a:bodyPr/>
          <a:lstStyle>
            <a:lvl1pPr marL="0" indent="0">
              <a:buNone/>
              <a:defRPr sz="938"/>
            </a:lvl1pPr>
            <a:lvl2pPr marL="0" indent="0">
              <a:spcBef>
                <a:spcPts val="225"/>
              </a:spcBef>
              <a:buNone/>
              <a:defRPr sz="825"/>
            </a:lvl2pPr>
            <a:lvl3pPr marL="0" indent="0">
              <a:buNone/>
              <a:defRPr sz="2400">
                <a:latin typeface="+mn-lt"/>
              </a:defRPr>
            </a:lvl3pPr>
            <a:lvl4pPr marL="0" indent="0">
              <a:buNone/>
              <a:defRPr sz="2400">
                <a:latin typeface="+mn-lt"/>
              </a:defRPr>
            </a:lvl4pPr>
            <a:lvl5pPr marL="133350" indent="0">
              <a:buNone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Name</a:t>
            </a:r>
            <a:endParaRPr lang="en-US"/>
          </a:p>
        </p:txBody>
      </p:sp>
      <p:cxnSp>
        <p:nvCxnSpPr>
          <p:cNvPr id="42" name="Straight Connector 4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1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3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7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37" name="Subtitle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41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24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270001"/>
            <a:ext cx="11471639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153900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1710238" name="Logo" descr="{&quot;templafy&quot;:{&quot;id&quot;:&quot;e5f84910-a125-4e45-9f00-4a33b606e51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2" name="Address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1" cy="1871662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970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3B06538A-19B4-4BF2-025F-A0225C7279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91341306" name="Logo" descr="{&quot;templafy&quot;:{&quot;id&quot;:&quot;0dc3d12a-6d56-4d67-81f3-e765897d2a24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4" name="Address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40"/>
            <a:ext cx="11474451" cy="1728787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53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B8FB4-2F51-D515-8F36-16C1B711E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A0B4DE-DD8C-7DE6-66BC-75AC6ED068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31D843-1360-DB79-9605-EF799049E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654EF2-BF11-6F85-3F08-D0CBB3987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21376-506C-C3A8-F736-3A9D1FF32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3528332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A2F8A631-6245-74E9-9DF8-51D20142CA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16669984" name="Logo" descr="{&quot;templafy&quot;:{&quot;id&quot;:&quot;a093be51-ee8a-42b4-8521-e727ee6a9b97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3" name="Address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1" cy="1528762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27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46833213" name="Logo" descr="{&quot;templafy&quot;:{&quot;id&quot;:&quot;b3f4d776-4a33-4d61-affd-dc0f897dba28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7" name="Address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1" cy="1528762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163335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27695530" name="Logo" descr="{&quot;templafy&quot;:{&quot;id&quot;:&quot;25db08de-9ad0-42e9-b2fa-88fba727e5e4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4"/>
            <a:ext cx="2253600" cy="773055"/>
          </a:xfrm>
          <a:prstGeom prst="rect">
            <a:avLst/>
          </a:prstGeom>
        </p:spPr>
      </p:pic>
      <p:sp>
        <p:nvSpPr>
          <p:cNvPr id="13" name="Address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75"/>
              </a:spcAft>
            </a:pPr>
            <a:r>
              <a:rPr lang="en-US" sz="600" dirty="0"/>
              <a:t>The Global Fund to Fight</a:t>
            </a:r>
            <a:br>
              <a:rPr lang="en-GB" sz="600" dirty="0"/>
            </a:br>
            <a:r>
              <a:rPr lang="en-US" sz="600" dirty="0"/>
              <a:t>AIDS, Tuberculosis and Malaria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+41 58 791 17 00</a:t>
            </a:r>
            <a:endParaRPr lang="en-US" sz="135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600" u="none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/>
              <a:t> </a:t>
            </a:r>
            <a:endParaRPr lang="en-US" sz="1350"/>
          </a:p>
          <a:p>
            <a:endParaRPr lang="en-US" sz="600" dirty="0"/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1" cy="1528762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  <a:lvl2pPr marL="0" indent="0">
              <a:buNone/>
              <a:defRPr sz="6600">
                <a:latin typeface="+mj-lt"/>
              </a:defRPr>
            </a:lvl2pPr>
            <a:lvl3pPr marL="0" indent="0">
              <a:buNone/>
              <a:defRPr sz="6600">
                <a:latin typeface="+mj-lt"/>
              </a:defRPr>
            </a:lvl3pPr>
            <a:lvl4pPr marL="0" indent="0">
              <a:buNone/>
              <a:defRPr sz="6600">
                <a:latin typeface="+mj-lt"/>
              </a:defRPr>
            </a:lvl4pPr>
            <a:lvl5pPr marL="0" indent="0">
              <a:buNone/>
              <a:defRPr sz="6600">
                <a:latin typeface="+mj-lt"/>
              </a:defRPr>
            </a:lvl5pPr>
            <a:lvl6pPr marL="0" indent="0">
              <a:buNone/>
              <a:defRPr sz="6600">
                <a:latin typeface="+mj-lt"/>
              </a:defRPr>
            </a:lvl6pPr>
          </a:lstStyle>
          <a:p>
            <a:pPr lvl="0"/>
            <a:r>
              <a:rPr lang="en-US" dirty="0"/>
              <a:t>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9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F39C6-5C09-F1BF-0DB9-F24761D422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708334-0ACF-991C-A5D2-168A70D8C3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32C02A-39E8-89BF-27C3-93D2113CD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7D4949-2ABB-B2AE-85B2-86445643B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708716-A2AD-E62C-F169-52CE2F5C3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277506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9ED5C-A3A2-0081-D559-23D88D382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D5B0C-D953-E004-5BBA-684489899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103DD1-E14E-824A-1611-548EE0907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071DAE-2A93-BB4E-0209-2E308AA8C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49A473-C1B2-B001-86FE-D78596C6C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8521791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FC5A3-EA8F-6B92-E108-552B26CFD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8AF9C1-BFAB-8285-8A3C-F0D60ADEA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6EBD7-568D-A1A5-8949-8FD9EA091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F1DB2-AC34-5716-C872-2766F09B0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1CA09F-0BB7-DD0A-A523-112253D04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253233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4FAD0-F59B-91C9-144A-1694CB093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0BCD59-8C93-CA8B-8DED-D5A29DF615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554D6E-DED4-F9AE-149A-68B9D1D98A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10371B-14C6-CB1C-959D-904C9309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9A23D7-1147-383C-5C87-70968C748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D7C375-1F0D-1C29-D729-4173B6737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661394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862AE-1C59-22CD-BBD2-35845EADC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6DE82C-7B0A-2BE9-CC62-2B321829D3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D7508B-E372-860D-E352-3F57A8B701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40BDF1-393D-0D4C-9109-9411A96D95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95449D-6B0C-EF7B-91B4-0F499B6B59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65C50-873C-0488-34BC-9C8699869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203408-00CD-F9A2-C291-94F0CB02F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B24582-ACE2-3F0D-F731-C27E5D633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273722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D0D3B-126E-C38A-2AA4-E40B161B2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FE7574-C641-A0B6-A329-D185B4734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11E1F-3A95-F12D-F930-074545E76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18D01B-AC2A-1FF2-605A-6958C5F14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304541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6C547-784E-3524-59E8-0510E8523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EB346-C064-F5BB-D80E-C1B1375DD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F2BB3-01B2-F2AC-F321-50C4CCDDF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2950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A6E00-F1D3-44C2-B287-C95DD8EB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EBA2A3-8497-6E79-C256-599D8C21A8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E96769-3B6C-1331-AABC-54D76D03C6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2A96C-9AD5-B5C1-52AC-A37C1A995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434A8C-B2C3-5C24-0FF7-E11E16529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47602-7DC7-E6FE-8AF6-EA65ADAF9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692089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903FF-8ECD-C3A6-8196-161385713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470DC2-E1E8-E5F0-D7C2-F5D6A121A9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7AE935-B808-9C9D-A661-32E2870477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48CDD8-7D88-A473-35C3-CC86FE17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179F7B-6468-0915-CC42-7DFE9B7B1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66885-37C9-DDEF-0827-A0ECD5997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4025301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3C1C4-31BC-BF0E-0E6C-9223715E2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71994A-1C3A-C385-156A-E19A53C99C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85413D-A825-6FB9-365E-9C3667C106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4DEE2F-1C45-E5D6-554D-CCC770653D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90C384-63A4-F0E2-6848-6E9970BAA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66F6AC-18F3-1059-2496-CE5A3EA21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02523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ED98F-1F6A-640D-AFAF-BF7E0104F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B80405-5844-54CE-6223-9D8B81A051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A7013D-3679-E7B8-F900-05482B7B0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743E19-F89D-EA85-A029-ACD1CF663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D9FD1F-D12A-777B-FA1D-9B9F202F2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3902949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59CF13-73B9-18AD-2D30-ED2EFD2747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B6A57B-3F06-359D-0FCC-DF4EE5CF01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61687-C5EE-00FA-5864-2480C289B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C03597-5707-14F7-B78B-54190449E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14F001-1DA8-774D-71F9-361236861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73145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2CD4C-2530-7908-3A07-048651DE1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59489-72A1-FD45-64E5-D6CE8BC353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F0AFE8-C1FA-3C52-F6DF-A0BCF2FB66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A0EEFF-D3E0-77A1-4E2F-4CAEBC4E7B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3BE9EE-71DC-DEAA-52C0-62758AB72F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C7E9C9-497D-B7D6-3459-C6642CF64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2835C0-B8C7-B54D-A0BC-5C59AFCEC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24A121-4CF5-652A-3416-4B5494EE7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78025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EE469-13A0-5D4F-1D11-934764C52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196F5F-135D-4EE9-B729-257375B98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0EFDA-3BEF-4273-BA8E-1199C7581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FF537-4866-B004-0CBE-5BE320E87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2328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95301C-36D6-9D3A-D0F0-BA8F4AF92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955C75-72FA-321A-3A4A-EE5A64B29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553E7A-FC6F-117B-DD46-680963263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201172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1901B-1CCB-62DD-83B8-8573D1180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B43C4A-B3DF-4A65-5074-508FD1D638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EDA6E3-232F-39C8-07F2-D73C93752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3BB033-69BB-CFFA-FCF3-7D0CF9A14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3B3D08-5F83-596F-5150-46AC67A52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72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D2C7D-3264-85B2-CA9B-474C4A466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81D54-4262-84CC-426E-86A7C9260A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793F71-7D15-276D-81CE-16946D8799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E32A84-86E4-66E5-8081-77285277F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EB6B58-AA4E-C89E-9C70-358053AF4A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6C4D68-AED8-6ABF-B7C3-3631097BD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411114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19A6F-CE3A-91B9-21B7-A2A8F075E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5C53A1-10D3-E07B-2111-7B4851AEE6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D52EFD-A841-C7BC-0DAA-311B956050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5C9EEF-DF31-0DC4-589F-60921400F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7A6B07-35C3-BE03-73F0-E8879CE88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3C5D0-4874-7E9F-5FE8-1B6BF5FE1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894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F9D45-4D6E-5A59-0107-B17C0A4CF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0A69B9-E743-D5FB-9BAD-8360A7C07A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D7272-3CED-5DDD-EF7F-A81E24C1D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AC986-23B3-E748-EA4E-72A25BD76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038C1D-1C42-8CA6-052E-BCBFB8769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015285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2384FDF-6396-7A46-E7E1-7D1BAE5F6B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A2EE85-9689-202B-0EE8-8B552E146C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35232F-DE70-F7AF-AC5D-9EF54AEFD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AFD611-CD58-1066-EEF9-47BEB5E10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0E288-79AB-F9BF-D695-923EE93F9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33058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9712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548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7006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0481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1636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607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81179-4680-8581-F183-68F1C22DF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C99F4B-14EC-1CC7-6964-9CDAFBD32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AED5E5-CF6B-00DD-3602-22F50F17A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E6DD90-522D-81B2-07F6-7E7AE09B7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C4F3E7-7052-7472-5D85-B121CDAC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9447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7296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2415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8023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6956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4307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63C66DC-666C-4C0B-B57C-478E431BB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12192000" cy="577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02636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8255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583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ogo Frame, Saffron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white text&#10;&#10;Description automatically generated">
            <a:extLst>
              <a:ext uri="{FF2B5EF4-FFF2-40B4-BE49-F238E27FC236}">
                <a16:creationId xmlns:a16="http://schemas.microsoft.com/office/drawing/2014/main" id="{5EB390E2-0244-6E15-2935-B9AB8904E2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754AC18-9DE6-D125-2E6A-AB588FCA9E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1803" y="6050784"/>
            <a:ext cx="2641786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901EDA-B80C-4264-BE6D-BDD2C206C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8987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7219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ogo Frame,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white text&#10;&#10;Description automatically generated">
            <a:extLst>
              <a:ext uri="{FF2B5EF4-FFF2-40B4-BE49-F238E27FC236}">
                <a16:creationId xmlns:a16="http://schemas.microsoft.com/office/drawing/2014/main" id="{5EB390E2-0244-6E15-2935-B9AB8904E2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  <a:noFill/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754AC18-9DE6-D125-2E6A-AB588FCA9E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" b="5"/>
          <a:stretch/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901EDA-B80C-4264-BE6D-BDD2C206C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8987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2677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80ADE-98E0-218B-371B-EB7D4C85F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C5A19C-B189-2555-98D9-C6F41FBBAC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D664C1-6D7F-3E1E-9EBC-F453DFCEA2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E39233-2925-D9BA-5BB2-CDDD1E70E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9339A0-879D-BB84-D921-85EF9E7F3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E716CA-E0CD-8A3E-AE04-E5FBD8E7A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827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ogo Frame,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EB390E2-0244-6E15-2935-B9AB8904E2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r="12"/>
          <a:stretch/>
        </p:blipFill>
        <p:spPr>
          <a:xfrm>
            <a:off x="0" y="0"/>
            <a:ext cx="12189144" cy="687704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E754AC18-9DE6-D125-2E6A-AB588FCA9E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"/>
          <a:stretch/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901EDA-B80C-4264-BE6D-BDD2C206C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8987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077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, Saffron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A87BDB-E4CD-7051-CB35-68897FD7A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1732902"/>
            <a:ext cx="8000274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2439225"/>
            <a:ext cx="8000274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400" b="0" i="0" baseline="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1212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656212-B39B-3C39-28ED-417AF56BB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59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,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9" y="1732902"/>
            <a:ext cx="8063336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9" y="2439225"/>
            <a:ext cx="8063336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400" b="0" i="0" baseline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72927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656212-B39B-3C39-28ED-417AF56BB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8DF1E54-3DF4-B88B-4F7C-230D405D8E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873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,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A87BDB-E4CD-7051-CB35-68897FD7A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1732902"/>
            <a:ext cx="8000274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67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cap="none" baseline="0">
                <a:solidFill>
                  <a:schemeClr val="accent6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2439225"/>
            <a:ext cx="8000274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 sz="2400" b="0" i="0" baseline="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1212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656212-B39B-3C39-28ED-417AF56BB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0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22EC62-CC8B-4DB9-864A-3CBA965AAB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44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22EC62-CC8B-4DB9-864A-3CBA965AAB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13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Saffron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CFC7768-5668-6257-BB17-8E7CC9808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01144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Light Turqoise"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C434ACB-D5B5-F104-1E71-E81A19FCA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8887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F0A4C8F-B2AC-D87E-48A8-47206CCDB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418715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, Dark Blue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F416AC-BEC8-D876-0219-7552EE2D11B3}"/>
              </a:ext>
            </a:extLst>
          </p:cNvPr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37554CB-85D6-3343-4B4F-A43513B10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1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63297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8342F-22B2-7161-5634-C9DE9F8A5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6B19B-69EF-1572-0A51-858742C803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300013-5ED3-FF5F-EEC4-B63FFF1DC3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02547D-92D7-CFC4-4012-0BFFA7834C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69CF35-B2D7-2C73-D896-EE86B0A9AC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709DBF-B434-6D27-824B-36DA6C4E3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181E31-D56D-BA9F-40A3-0D27FA3BE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1E7F73-88D8-D708-1E63-80D073EC8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8452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-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A18C142-8408-344E-A495-3AA12E1EF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6EF593-6503-5ECD-C4A1-21F18F927E0D}"/>
              </a:ext>
            </a:extLst>
          </p:cNvPr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EB7ED-DC69-E17B-9E33-5D586963DB40}"/>
              </a:ext>
            </a:extLst>
          </p:cNvPr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AF809-B915-3003-B8B7-AF5D386AA8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bg1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251171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- Saffr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A18C142-8408-344E-A495-3AA12E1EF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6EF593-6503-5ECD-C4A1-21F18F927E0D}"/>
              </a:ext>
            </a:extLst>
          </p:cNvPr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EB7ED-DC69-E17B-9E33-5D586963DB40}"/>
              </a:ext>
            </a:extLst>
          </p:cNvPr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AF809-B915-3003-B8B7-AF5D386AA8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accent6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271771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A18C142-8408-344E-A495-3AA12E1EF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6EF593-6503-5ECD-C4A1-21F18F927E0D}"/>
              </a:ext>
            </a:extLst>
          </p:cNvPr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EB7ED-DC69-E17B-9E33-5D586963DB40}"/>
              </a:ext>
            </a:extLst>
          </p:cNvPr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AF809-B915-3003-B8B7-AF5D386AA8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accent6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139619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-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Standard slide – white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0159EF9C-36ED-A889-7626-0D4D99C9C0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9CE5998-F8B0-A840-89AA-28D161AE06A5}" type="datetime3">
              <a:rPr lang="en-US" smtClean="0"/>
              <a:t>31 March 2026</a:t>
            </a:fld>
            <a:endParaRPr lang="en-US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E752873-8372-F8E2-E6AB-3BFBD9AF1B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</p:spTree>
    <p:extLst>
      <p:ext uri="{BB962C8B-B14F-4D97-AF65-F5344CB8AC3E}">
        <p14:creationId xmlns:p14="http://schemas.microsoft.com/office/powerpoint/2010/main" val="418139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- Parchment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Standard slide – parchment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0159EF9C-36ED-A889-7626-0D4D99C9C0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9CE5998-F8B0-A840-89AA-28D161AE06A5}" type="datetime3">
              <a:rPr lang="en-US" smtClean="0"/>
              <a:t>31 March 2026</a:t>
            </a:fld>
            <a:endParaRPr lang="en-US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E752873-8372-F8E2-E6AB-3BFBD9AF1B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7E99AEF-095A-5680-1445-FABB4D7C7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 - Sla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23D95C-DA9F-E8D8-85EA-0408F4E1E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asic text slide – slate background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8D65EF4-C0B6-0C4A-89B3-44D655F65F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B01B7B4-F5C3-C547-A371-83188B738C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>
            <a:extLst>
              <a:ext uri="{FF2B5EF4-FFF2-40B4-BE49-F238E27FC236}">
                <a16:creationId xmlns:a16="http://schemas.microsoft.com/office/drawing/2014/main" id="{560954BA-966B-314F-9EB1-CE3F2110CD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D9174E-463E-5F46-AFCF-E36D8E9AF966}" type="datetime3">
              <a:rPr lang="en-US" smtClean="0"/>
              <a:pPr/>
              <a:t>31 March 2026</a:t>
            </a:fld>
            <a:endParaRPr lang="en-US"/>
          </a:p>
        </p:txBody>
      </p: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603871BE-0B86-574C-858D-FE7A509951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0" name="Slide Number Placeholder 7">
            <a:extLst>
              <a:ext uri="{FF2B5EF4-FFF2-40B4-BE49-F238E27FC236}">
                <a16:creationId xmlns:a16="http://schemas.microsoft.com/office/drawing/2014/main" id="{98DDC874-95E0-2241-859F-A6AE5EB99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B8787F-7A6C-20FC-9105-4CF25DCE07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20438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6883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23D95C-DA9F-E8D8-85EA-0408F4E1E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Basic text slide – parchment background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8D65EF4-C0B6-0C4A-89B3-44D655F65F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B01B7B4-F5C3-C547-A371-83188B738C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>
            <a:extLst>
              <a:ext uri="{FF2B5EF4-FFF2-40B4-BE49-F238E27FC236}">
                <a16:creationId xmlns:a16="http://schemas.microsoft.com/office/drawing/2014/main" id="{560954BA-966B-314F-9EB1-CE3F2110CD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C92EC4D-7FB8-6444-9B47-C6CAB9319D7D}" type="datetime3">
              <a:rPr lang="en-US" smtClean="0"/>
              <a:t>31 March 2026</a:t>
            </a:fld>
            <a:endParaRPr lang="en-US"/>
          </a:p>
        </p:txBody>
      </p: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603871BE-0B86-574C-858D-FE7A509951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0" name="Slide Number Placeholder 7">
            <a:extLst>
              <a:ext uri="{FF2B5EF4-FFF2-40B4-BE49-F238E27FC236}">
                <a16:creationId xmlns:a16="http://schemas.microsoft.com/office/drawing/2014/main" id="{98DDC874-95E0-2241-859F-A6AE5EB99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2B8787F-7A6C-20FC-9105-4CF25DCE07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457" y="1585029"/>
            <a:ext cx="11112303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lnSpc>
                <a:spcPct val="1140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6174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 -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2C699-CE20-7301-83C5-75C1BD964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Basic text slide – white background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3DE8A5-5065-5348-8E74-D19DA24560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501" indent="-171501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3003" indent="-171501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6093" indent="-17309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594" indent="-171501">
              <a:spcBef>
                <a:spcPts val="336"/>
              </a:spcBef>
              <a:defRPr baseline="0"/>
            </a:lvl5pPr>
          </a:lstStyle>
          <a:p>
            <a:pPr marL="285836" lvl="0" indent="-285836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4CDDFFB-D274-6844-8B51-1DF88BFB98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0030"/>
            <a:ext cx="11119274" cy="20819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8" name="Date Placeholder 4">
            <a:extLst>
              <a:ext uri="{FF2B5EF4-FFF2-40B4-BE49-F238E27FC236}">
                <a16:creationId xmlns:a16="http://schemas.microsoft.com/office/drawing/2014/main" id="{693A3A6B-2912-404C-B880-AB1575C2DD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05E90DF-A85F-8E4E-BC8E-531A51B85A85}" type="datetime3">
              <a:rPr lang="en-US" smtClean="0"/>
              <a:t>31 March 2026</a:t>
            </a:fld>
            <a:endParaRPr lang="en-US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2E7B7752-E4B2-ED4B-8866-D8BBE9493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DF05B559-581F-D941-BDCC-78105100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27DB30-90C6-211C-BDBC-DB034F63F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18850" cy="464907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4898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248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454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3BEE4-0CDC-162B-DA4B-1E5D0868B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184E43-9CDD-1D92-F896-F79829057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EBB4C2-B70D-55D7-5020-D04C645A7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7C3829-4162-9901-659A-05D557E09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2051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graphic - 2 col + heade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CF294-11EE-4677-7713-B08E6301C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or graphic - 2 columns + header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93046DD-C65D-964F-9393-B63DDD14EA5E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46BCE5A-C6EA-3D45-B6AA-69F8F5DE5F7C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4221" y="1641186"/>
            <a:ext cx="5439928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chemeClr val="accent6"/>
                </a:solidFill>
              </a:defRPr>
            </a:lvl1pPr>
          </a:lstStyle>
          <a:p>
            <a:pPr marL="171501" lvl="0" indent="-171501"/>
            <a:r>
              <a:rPr lang="en-US"/>
              <a:t>Header 1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B810ED-E68E-4637-9472-F6D25D1E692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534220" y="2244720"/>
            <a:ext cx="5447479" cy="388937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0F34A11-D1C4-1141-A437-411C04A150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359" y="1641186"/>
            <a:ext cx="5368926" cy="2769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chemeClr val="accent6"/>
                </a:solidFill>
              </a:defRPr>
            </a:lvl1pPr>
          </a:lstStyle>
          <a:p>
            <a:pPr marL="171501" lvl="0" indent="-171501"/>
            <a:r>
              <a:rPr lang="en-US"/>
              <a:t>Header 2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302C231-A124-4DBC-9E31-CF4A9E847ABD}"/>
              </a:ext>
            </a:extLst>
          </p:cNvPr>
          <p:cNvSpPr>
            <a:spLocks noGrp="1"/>
          </p:cNvSpPr>
          <p:nvPr>
            <p:ph sz="quarter" idx="5" hasCustomPrompt="1"/>
          </p:nvPr>
        </p:nvSpPr>
        <p:spPr>
          <a:xfrm>
            <a:off x="6287039" y="2244720"/>
            <a:ext cx="5376378" cy="388937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7BCA7FC-1CDF-B248-A0FE-220C98855C3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2" name="Date Placeholder 8">
            <a:extLst>
              <a:ext uri="{FF2B5EF4-FFF2-40B4-BE49-F238E27FC236}">
                <a16:creationId xmlns:a16="http://schemas.microsoft.com/office/drawing/2014/main" id="{351902C6-7022-D242-9AEC-97393407D1E7}"/>
              </a:ext>
            </a:extLst>
          </p:cNvPr>
          <p:cNvSpPr>
            <a:spLocks noGrp="1"/>
          </p:cNvSpPr>
          <p:nvPr>
            <p:ph type="dt" sz="half" idx="7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3A97348-D29C-3C40-912C-F73B04E68B6D}" type="datetime3">
              <a:rPr lang="en-US" smtClean="0"/>
              <a:t>31 March 2026</a:t>
            </a:fld>
            <a:endParaRPr lang="en-US"/>
          </a:p>
        </p:txBody>
      </p:sp>
      <p:sp>
        <p:nvSpPr>
          <p:cNvPr id="20" name="Footer Placeholder 9">
            <a:extLst>
              <a:ext uri="{FF2B5EF4-FFF2-40B4-BE49-F238E27FC236}">
                <a16:creationId xmlns:a16="http://schemas.microsoft.com/office/drawing/2014/main" id="{1783B01A-32CF-8245-B7F6-C1BC02D8D533}"/>
              </a:ext>
            </a:extLst>
          </p:cNvPr>
          <p:cNvSpPr>
            <a:spLocks noGrp="1"/>
          </p:cNvSpPr>
          <p:nvPr>
            <p:ph type="ftr" sz="quarter" idx="8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DEEC593F-5090-F54D-9DE4-8B999E86D6AC}"/>
              </a:ext>
            </a:extLst>
          </p:cNvPr>
          <p:cNvSpPr>
            <a:spLocks noGrp="1"/>
          </p:cNvSpPr>
          <p:nvPr>
            <p:ph type="sldNum" sz="quarter" idx="9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" name="Straight Connector 11">
            <a:extLst>
              <a:ext uri="{FF2B5EF4-FFF2-40B4-BE49-F238E27FC236}">
                <a16:creationId xmlns:a16="http://schemas.microsoft.com/office/drawing/2014/main" id="{7FFAF916-9C90-0441-B544-DB40E49534DD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543992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2">
            <a:extLst>
              <a:ext uri="{FF2B5EF4-FFF2-40B4-BE49-F238E27FC236}">
                <a16:creationId xmlns:a16="http://schemas.microsoft.com/office/drawing/2014/main" id="{84A50A12-A2BB-E740-BF44-D5B7CEBE05B3}"/>
              </a:ext>
            </a:extLst>
          </p:cNvPr>
          <p:cNvCxnSpPr>
            <a:cxnSpLocks/>
          </p:cNvCxnSpPr>
          <p:nvPr userDrawn="1"/>
        </p:nvCxnSpPr>
        <p:spPr>
          <a:xfrm>
            <a:off x="6290246" y="1570338"/>
            <a:ext cx="53675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631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graphic - 2 col, n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CF294-11EE-4677-7713-B08E6301C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457" y="530943"/>
            <a:ext cx="11120967" cy="3657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or graphic - 2 columns, no header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93046DD-C65D-964F-9393-B63DDD14EA5E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B810ED-E68E-4637-9472-F6D25D1E692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534220" y="1782147"/>
            <a:ext cx="5447479" cy="4351953"/>
          </a:xfrm>
          <a:prstGeom prst="rect">
            <a:avLst/>
          </a:prstGeom>
          <a:noFill/>
        </p:spPr>
        <p:txBody>
          <a:bodyPr vert="horz" lIns="137160" tIns="137160" rIns="0" bIns="1371600" rtlCol="0" anchor="ctr">
            <a:noAutofit/>
          </a:bodyPr>
          <a:lstStyle>
            <a:lvl1pPr algn="ctr"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302C231-A124-4DBC-9E31-CF4A9E847ABD}"/>
              </a:ext>
            </a:extLst>
          </p:cNvPr>
          <p:cNvSpPr>
            <a:spLocks noGrp="1"/>
          </p:cNvSpPr>
          <p:nvPr>
            <p:ph sz="quarter" idx="5" hasCustomPrompt="1"/>
          </p:nvPr>
        </p:nvSpPr>
        <p:spPr>
          <a:xfrm>
            <a:off x="6248400" y="1782147"/>
            <a:ext cx="5415017" cy="4351953"/>
          </a:xfrm>
          <a:prstGeom prst="rect">
            <a:avLst/>
          </a:prstGeom>
          <a:noFill/>
        </p:spPr>
        <p:txBody>
          <a:bodyPr vert="horz" lIns="137160" tIns="137160" rIns="0" bIns="1371600" rtlCol="0" anchor="ctr">
            <a:noAutofit/>
          </a:bodyPr>
          <a:lstStyle>
            <a:lvl1pPr algn="ctr"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ctr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7BCA7FC-1CDF-B248-A0FE-220C98855C3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2" name="Date Placeholder 8">
            <a:extLst>
              <a:ext uri="{FF2B5EF4-FFF2-40B4-BE49-F238E27FC236}">
                <a16:creationId xmlns:a16="http://schemas.microsoft.com/office/drawing/2014/main" id="{351902C6-7022-D242-9AEC-97393407D1E7}"/>
              </a:ext>
            </a:extLst>
          </p:cNvPr>
          <p:cNvSpPr>
            <a:spLocks noGrp="1"/>
          </p:cNvSpPr>
          <p:nvPr>
            <p:ph type="dt" sz="half" idx="7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C37ADF3-A856-DB40-90F0-BD1B78D75ADE}" type="datetime3">
              <a:rPr lang="en-US" smtClean="0"/>
              <a:t>31 March 2026</a:t>
            </a:fld>
            <a:endParaRPr lang="en-US"/>
          </a:p>
        </p:txBody>
      </p:sp>
      <p:sp>
        <p:nvSpPr>
          <p:cNvPr id="20" name="Footer Placeholder 9">
            <a:extLst>
              <a:ext uri="{FF2B5EF4-FFF2-40B4-BE49-F238E27FC236}">
                <a16:creationId xmlns:a16="http://schemas.microsoft.com/office/drawing/2014/main" id="{1783B01A-32CF-8245-B7F6-C1BC02D8D533}"/>
              </a:ext>
            </a:extLst>
          </p:cNvPr>
          <p:cNvSpPr>
            <a:spLocks noGrp="1"/>
          </p:cNvSpPr>
          <p:nvPr>
            <p:ph type="ftr" sz="quarter" idx="8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DEEC593F-5090-F54D-9DE4-8B999E86D6AC}"/>
              </a:ext>
            </a:extLst>
          </p:cNvPr>
          <p:cNvSpPr>
            <a:spLocks noGrp="1"/>
          </p:cNvSpPr>
          <p:nvPr>
            <p:ph type="sldNum" sz="quarter" idx="9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F7719F-4180-6E81-9C02-4D0BE327AC66}"/>
              </a:ext>
            </a:extLst>
          </p:cNvPr>
          <p:cNvSpPr txBox="1"/>
          <p:nvPr userDrawn="1"/>
        </p:nvSpPr>
        <p:spPr>
          <a:xfrm>
            <a:off x="10548594" y="-1036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75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graphic - 3 Col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3527B-AF9D-AAAE-0232-18D5796224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or graphic - 3 columns + header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21A6A3E-D5C2-274B-9184-CF0B08D6326A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B5F1F30-ADD4-2D42-B311-B75E622B009F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3539" y="1641185"/>
            <a:ext cx="3505220" cy="32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chemeClr val="accent6"/>
                </a:solidFill>
              </a:defRPr>
            </a:lvl1pPr>
          </a:lstStyle>
          <a:p>
            <a:pPr marL="171501" lvl="0" indent="-171501"/>
            <a:r>
              <a:rPr lang="en-US"/>
              <a:t>Header 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9011BA4-3821-4B58-946F-A0583B8E1B4E}"/>
              </a:ext>
            </a:extLst>
          </p:cNvPr>
          <p:cNvSpPr>
            <a:spLocks noGrp="1"/>
          </p:cNvSpPr>
          <p:nvPr>
            <p:ph sz="quarter" idx="5" hasCustomPrompt="1"/>
          </p:nvPr>
        </p:nvSpPr>
        <p:spPr>
          <a:xfrm>
            <a:off x="533539" y="2244720"/>
            <a:ext cx="3504524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15B2A8-7385-AE44-8F67-B76BE921AD2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44186" y="1641185"/>
            <a:ext cx="3504524" cy="3229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110828F-1382-45D3-89A8-402C37D30449}"/>
              </a:ext>
            </a:extLst>
          </p:cNvPr>
          <p:cNvSpPr>
            <a:spLocks noGrp="1"/>
          </p:cNvSpPr>
          <p:nvPr>
            <p:ph sz="quarter" idx="6" hasCustomPrompt="1"/>
          </p:nvPr>
        </p:nvSpPr>
        <p:spPr>
          <a:xfrm>
            <a:off x="4343804" y="2244720"/>
            <a:ext cx="3504524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A4F4A86-B345-DD4A-8370-2D614F921BA0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8153838" y="1641185"/>
            <a:ext cx="3512407" cy="31960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1976A536-AE04-47EE-AABB-40C62FC32200}"/>
              </a:ext>
            </a:extLst>
          </p:cNvPr>
          <p:cNvSpPr>
            <a:spLocks noGrp="1"/>
          </p:cNvSpPr>
          <p:nvPr>
            <p:ph sz="quarter" idx="7" hasCustomPrompt="1"/>
          </p:nvPr>
        </p:nvSpPr>
        <p:spPr>
          <a:xfrm>
            <a:off x="8153936" y="2244720"/>
            <a:ext cx="3507796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7" name="Date Placeholder 10">
            <a:extLst>
              <a:ext uri="{FF2B5EF4-FFF2-40B4-BE49-F238E27FC236}">
                <a16:creationId xmlns:a16="http://schemas.microsoft.com/office/drawing/2014/main" id="{A0B25769-BA88-A643-B364-6674B6C73A63}"/>
              </a:ext>
            </a:extLst>
          </p:cNvPr>
          <p:cNvSpPr>
            <a:spLocks noGrp="1"/>
          </p:cNvSpPr>
          <p:nvPr>
            <p:ph type="dt" sz="half" idx="9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5632BEE-40D1-A44D-8EE0-C023ED8A09EF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D4B82B62-89D6-1C4B-B886-A14D4F5163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2">
            <a:extLst>
              <a:ext uri="{FF2B5EF4-FFF2-40B4-BE49-F238E27FC236}">
                <a16:creationId xmlns:a16="http://schemas.microsoft.com/office/drawing/2014/main" id="{8FA37F43-6547-5445-851B-83EE6B2A87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91EB1A-BD52-6E4D-B2F3-4E0C90632DAD}"/>
              </a:ext>
            </a:extLst>
          </p:cNvPr>
          <p:cNvCxnSpPr>
            <a:cxnSpLocks/>
          </p:cNvCxnSpPr>
          <p:nvPr userDrawn="1"/>
        </p:nvCxnSpPr>
        <p:spPr>
          <a:xfrm>
            <a:off x="533539" y="1570338"/>
            <a:ext cx="35052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4">
            <a:extLst>
              <a:ext uri="{FF2B5EF4-FFF2-40B4-BE49-F238E27FC236}">
                <a16:creationId xmlns:a16="http://schemas.microsoft.com/office/drawing/2014/main" id="{744E64E2-DAFF-1A41-9B6B-24903F2DB65C}"/>
              </a:ext>
            </a:extLst>
          </p:cNvPr>
          <p:cNvCxnSpPr>
            <a:cxnSpLocks/>
          </p:cNvCxnSpPr>
          <p:nvPr userDrawn="1"/>
        </p:nvCxnSpPr>
        <p:spPr>
          <a:xfrm>
            <a:off x="4344188" y="1570338"/>
            <a:ext cx="350413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5">
            <a:extLst>
              <a:ext uri="{FF2B5EF4-FFF2-40B4-BE49-F238E27FC236}">
                <a16:creationId xmlns:a16="http://schemas.microsoft.com/office/drawing/2014/main" id="{1B6D433B-5A96-A544-B3DF-4EC0C519327F}"/>
              </a:ext>
            </a:extLst>
          </p:cNvPr>
          <p:cNvCxnSpPr>
            <a:cxnSpLocks/>
          </p:cNvCxnSpPr>
          <p:nvPr userDrawn="1"/>
        </p:nvCxnSpPr>
        <p:spPr>
          <a:xfrm>
            <a:off x="8153838" y="1570338"/>
            <a:ext cx="35124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04D0E82-B23A-2AD0-FE90-9697B2DC15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1556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graphic - 4 col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Text or graphic - 4 columns + header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71927BD-B4FA-EC4D-A5D3-E03AE021C3F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3984" y="1641185"/>
            <a:ext cx="2542032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EF76F41-D8DB-4580-811E-D1003591DD53}"/>
              </a:ext>
            </a:extLst>
          </p:cNvPr>
          <p:cNvSpPr>
            <a:spLocks noGrp="1"/>
          </p:cNvSpPr>
          <p:nvPr>
            <p:ph sz="quarter" idx="6" hasCustomPrompt="1"/>
          </p:nvPr>
        </p:nvSpPr>
        <p:spPr>
          <a:xfrm>
            <a:off x="533539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5B7EA94-614D-9C4E-9045-378F65B44E0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405214" y="1641185"/>
            <a:ext cx="2542032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8E1E33F-6DF6-48A3-A979-304826CA9205}"/>
              </a:ext>
            </a:extLst>
          </p:cNvPr>
          <p:cNvSpPr>
            <a:spLocks noGrp="1"/>
          </p:cNvSpPr>
          <p:nvPr>
            <p:ph sz="quarter" idx="7" hasCustomPrompt="1"/>
          </p:nvPr>
        </p:nvSpPr>
        <p:spPr>
          <a:xfrm>
            <a:off x="3396136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5BF8424-7520-F84E-9889-71BA2B4A5FAF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6244756" y="1641185"/>
            <a:ext cx="2542032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9AABD8A-B408-41CE-9B4A-1133E3CC445C}"/>
              </a:ext>
            </a:extLst>
          </p:cNvPr>
          <p:cNvSpPr>
            <a:spLocks noGrp="1"/>
          </p:cNvSpPr>
          <p:nvPr>
            <p:ph sz="quarter" idx="8" hasCustomPrompt="1"/>
          </p:nvPr>
        </p:nvSpPr>
        <p:spPr>
          <a:xfrm>
            <a:off x="6258733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84961A1-9C0B-D84D-844D-D518C2BA1CFD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9121331" y="1641185"/>
            <a:ext cx="2542032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8A2C700D-EE02-41BA-A700-9BE5E6C60C26}"/>
              </a:ext>
            </a:extLst>
          </p:cNvPr>
          <p:cNvSpPr>
            <a:spLocks noGrp="1"/>
          </p:cNvSpPr>
          <p:nvPr>
            <p:ph sz="quarter" idx="9" hasCustomPrompt="1"/>
          </p:nvPr>
        </p:nvSpPr>
        <p:spPr>
          <a:xfrm>
            <a:off x="9121331" y="2244720"/>
            <a:ext cx="2542032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74E7973-C3D3-474E-8452-C92D4C0A5294}" type="datetime3">
              <a:rPr lang="en-US" smtClean="0"/>
              <a:t>31 March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853026-5FAB-644F-A881-5C2B6B62A972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06DBEA6D-E088-AB4E-B949-67FC6B1EEF2C}"/>
              </a:ext>
            </a:extLst>
          </p:cNvPr>
          <p:cNvCxnSpPr>
            <a:cxnSpLocks/>
          </p:cNvCxnSpPr>
          <p:nvPr userDrawn="1"/>
        </p:nvCxnSpPr>
        <p:spPr>
          <a:xfrm>
            <a:off x="3405214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62E4C314-2D7D-3849-907E-707E0B77C432}"/>
              </a:ext>
            </a:extLst>
          </p:cNvPr>
          <p:cNvCxnSpPr>
            <a:cxnSpLocks/>
          </p:cNvCxnSpPr>
          <p:nvPr userDrawn="1"/>
        </p:nvCxnSpPr>
        <p:spPr>
          <a:xfrm>
            <a:off x="6244756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>
            <a:extLst>
              <a:ext uri="{FF2B5EF4-FFF2-40B4-BE49-F238E27FC236}">
                <a16:creationId xmlns:a16="http://schemas.microsoft.com/office/drawing/2014/main" id="{B120A637-A5D9-6F45-A955-B41B79EBB595}"/>
              </a:ext>
            </a:extLst>
          </p:cNvPr>
          <p:cNvCxnSpPr>
            <a:cxnSpLocks/>
          </p:cNvCxnSpPr>
          <p:nvPr userDrawn="1"/>
        </p:nvCxnSpPr>
        <p:spPr>
          <a:xfrm>
            <a:off x="912133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D8E862E-0083-4813-69DE-206DC409F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20068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+ photos - 4 Column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71927BD-B4FA-EC4D-A5D3-E03AE021C3F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3984" y="1641184"/>
            <a:ext cx="2542032" cy="1415515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5B7EA94-614D-9C4E-9045-378F65B44E0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396433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5BF8424-7520-F84E-9889-71BA2B4A5FAF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6258882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84961A1-9C0B-D84D-844D-D518C2BA1CFD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9121331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AF6D186-DD17-1648-A0B2-C192F6BE5666}" type="datetime3">
              <a:rPr lang="en-US" smtClean="0"/>
              <a:t>31 March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853026-5FAB-644F-A881-5C2B6B62A972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06DBEA6D-E088-AB4E-B949-67FC6B1EEF2C}"/>
              </a:ext>
            </a:extLst>
          </p:cNvPr>
          <p:cNvCxnSpPr>
            <a:cxnSpLocks/>
          </p:cNvCxnSpPr>
          <p:nvPr userDrawn="1"/>
        </p:nvCxnSpPr>
        <p:spPr>
          <a:xfrm>
            <a:off x="339659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62E4C314-2D7D-3849-907E-707E0B77C432}"/>
              </a:ext>
            </a:extLst>
          </p:cNvPr>
          <p:cNvCxnSpPr>
            <a:cxnSpLocks/>
          </p:cNvCxnSpPr>
          <p:nvPr userDrawn="1"/>
        </p:nvCxnSpPr>
        <p:spPr>
          <a:xfrm>
            <a:off x="625896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>
            <a:extLst>
              <a:ext uri="{FF2B5EF4-FFF2-40B4-BE49-F238E27FC236}">
                <a16:creationId xmlns:a16="http://schemas.microsoft.com/office/drawing/2014/main" id="{B120A637-A5D9-6F45-A955-B41B79EBB595}"/>
              </a:ext>
            </a:extLst>
          </p:cNvPr>
          <p:cNvCxnSpPr>
            <a:cxnSpLocks/>
          </p:cNvCxnSpPr>
          <p:nvPr userDrawn="1"/>
        </p:nvCxnSpPr>
        <p:spPr>
          <a:xfrm>
            <a:off x="9121331" y="1570338"/>
            <a:ext cx="25420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5514D60-64FD-835A-C69B-1EBC2A8A1C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7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303727B-D178-271E-9284-21AA7B79CA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05819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93A1A34-5627-2B57-DE5E-C4A95866C9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69181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A016B4A-9DF5-9138-23C6-125C197594E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32542" y="3279531"/>
            <a:ext cx="2541588" cy="2341914"/>
          </a:xfrm>
        </p:spPr>
        <p:txBody>
          <a:bodyPr/>
          <a:lstStyle/>
          <a:p>
            <a:r>
              <a:rPr lang="en-US"/>
              <a:t>Click to add photo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67C397E-8C1E-6C10-8D52-668BE1D18B1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D05FF9-349E-8CD9-AAA2-BCEA302D05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4" y="5687193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627364E-17AC-6F82-8B3F-7C3C003FDF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8502" y="5687193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32C95F6-750E-227C-9738-4ED9333395C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7506" y="5664489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5EB25BC-206B-50D0-2072-DBAFA24A24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32542" y="5664489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409856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image + 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F544E-1FB6-86CC-DAC5-9CDAAAE1A3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Full-width image + title &amp; subhead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BA14D70-1874-944B-8D3A-71712B1013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0ACF9E46-2CC5-804F-8636-0F4D9FC1E1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30509C-165E-064C-810A-F5EBDA985433}" type="datetime3">
              <a:rPr lang="en-US" smtClean="0"/>
              <a:t>31 March 2026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2399406D-BCE9-A54A-B923-B1EEDF04D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1296E14D-7C73-1048-A429-BF65128B5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C4BA8D-D559-D0AD-8DF5-47F52AF114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35486" y="1485901"/>
            <a:ext cx="11106150" cy="4648200"/>
          </a:xfrm>
          <a:noFill/>
        </p:spPr>
        <p:txBody>
          <a:bodyPr tIns="1463040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Drag or click icon to add imag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35109B4-C1C0-143D-5B13-39E659557D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2457" y="6180307"/>
            <a:ext cx="1110615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64132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graphic + 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F544E-1FB6-86CC-DAC5-9CDAAAE1A3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Full-width graphic + title &amp; subhead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BA14D70-1874-944B-8D3A-71712B1013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A06A30-F16A-466F-875F-C67C40FF9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225" y="1562100"/>
            <a:ext cx="11122000" cy="4572000"/>
          </a:xfrm>
          <a:prstGeom prst="rect">
            <a:avLst/>
          </a:prstGeom>
          <a:noFill/>
        </p:spPr>
        <p:txBody>
          <a:bodyPr tIns="1188720" anchor="t">
            <a:noAutofit/>
          </a:bodyPr>
          <a:lstStyle>
            <a:lvl1pPr algn="ctr">
              <a:buFontTx/>
              <a:buNone/>
              <a:defRPr sz="1200" baseline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0ACF9E46-2CC5-804F-8636-0F4D9FC1E1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D636C93-5C49-5349-BF14-0148CCEEBC25}" type="datetime3">
              <a:rPr lang="en-US" smtClean="0"/>
              <a:t>31 March 2026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2399406D-BCE9-A54A-B923-B1EEDF04D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1296E14D-7C73-1048-A429-BF65128B5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B59FDBE-D5D8-B72C-6EBC-43F1D2FA173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9870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graphic –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4A06A30-F16A-466F-875F-C67C40FF9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225" y="535517"/>
            <a:ext cx="11122000" cy="5598583"/>
          </a:xfrm>
          <a:prstGeom prst="rect">
            <a:avLst/>
          </a:prstGeom>
          <a:noFill/>
        </p:spPr>
        <p:txBody>
          <a:bodyPr tIns="1188720" anchor="t">
            <a:noAutofit/>
          </a:bodyPr>
          <a:lstStyle>
            <a:lvl1pPr algn="ctr">
              <a:buFontTx/>
              <a:buNone/>
              <a:defRPr sz="1200" baseline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0ACF9E46-2CC5-804F-8636-0F4D9FC1E1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D636C93-5C49-5349-BF14-0148CCEEBC25}" type="datetime3">
              <a:rPr lang="en-US" smtClean="0"/>
              <a:t>31 March 2026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2399406D-BCE9-A54A-B923-B1EEDF04D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1296E14D-7C73-1048-A429-BF65128B5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B59FDBE-D5D8-B72C-6EBC-43F1D2FA173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64476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with standar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Large text with standard imag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8416187-2676-4C97-8C77-B094D1524F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4221" y="1754704"/>
            <a:ext cx="3503842" cy="4303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Large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C6CA577-9C24-E745-9EE2-2967A71F05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3400" y="6096696"/>
            <a:ext cx="7284317" cy="18357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00A32D5-599B-0E4F-9F06-69C145ECA256}" type="datetime3">
              <a:rPr lang="en-US" smtClean="0"/>
              <a:t>31 March 2026</a:t>
            </a:fld>
            <a:endParaRPr lang="en-US"/>
          </a:p>
        </p:txBody>
      </p:sp>
      <p:cxnSp>
        <p:nvCxnSpPr>
          <p:cNvPr id="31" name="Straight Connector 9">
            <a:extLst>
              <a:ext uri="{FF2B5EF4-FFF2-40B4-BE49-F238E27FC236}">
                <a16:creationId xmlns:a16="http://schemas.microsoft.com/office/drawing/2014/main" id="{D8AD69F0-C6ED-1D41-9425-FD4C83DAA44D}"/>
              </a:ext>
            </a:extLst>
          </p:cNvPr>
          <p:cNvCxnSpPr>
            <a:cxnSpLocks/>
          </p:cNvCxnSpPr>
          <p:nvPr userDrawn="1"/>
        </p:nvCxnSpPr>
        <p:spPr>
          <a:xfrm>
            <a:off x="543952" y="1564876"/>
            <a:ext cx="34941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07FB6E-96D0-0A16-600B-BA7482910C3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3400" y="1565274"/>
            <a:ext cx="7284317" cy="4492619"/>
          </a:xfrm>
          <a:noFill/>
        </p:spPr>
        <p:txBody>
          <a:bodyPr tIns="1463040">
            <a:noAutofit/>
          </a:bodyPr>
          <a:lstStyle>
            <a:lvl1pPr marL="171501" marR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Drag picture to placeholder or click icon to ad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934557-9B55-A4B0-61F1-ACCEC34D0401}"/>
              </a:ext>
            </a:extLst>
          </p:cNvPr>
          <p:cNvSpPr txBox="1"/>
          <p:nvPr userDrawn="1"/>
        </p:nvSpPr>
        <p:spPr>
          <a:xfrm>
            <a:off x="2008094" y="221428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C783D1-5884-54CC-EC86-75E75B8F752F}"/>
              </a:ext>
            </a:extLst>
          </p:cNvPr>
          <p:cNvSpPr txBox="1"/>
          <p:nvPr userDrawn="1"/>
        </p:nvSpPr>
        <p:spPr>
          <a:xfrm>
            <a:off x="1659467" y="189653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79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with table, char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Large text with table, chart or objec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A668358F-2B82-4E1B-AC57-B03EC85F571B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343400" y="1564877"/>
            <a:ext cx="7284317" cy="4487248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4A8127-87E3-BC48-AD95-DED164029ADC}" type="datetime3">
              <a:rPr lang="en-US" smtClean="0"/>
              <a:t>31 March 20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FA6680-A83F-6FB7-0990-A7A3F54DC4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31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Large Text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2D89A6D-B129-F598-ECF2-CDFD96CA2FF6}"/>
              </a:ext>
            </a:extLst>
          </p:cNvPr>
          <p:cNvCxnSpPr>
            <a:cxnSpLocks/>
          </p:cNvCxnSpPr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9639606-D190-C517-A1E5-81A163BF5326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54612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62F207-B67A-5107-4F66-A1ECF9622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CEC38-2AB9-DFAA-B8B5-2FBC7810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04CF3-3359-6F5B-00F3-EB6A70CD6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109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tandar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99A29D6-76B5-B1E0-4A1A-E8138F83A9D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43400" y="1565275"/>
            <a:ext cx="7285038" cy="4489450"/>
          </a:xfrm>
        </p:spPr>
        <p:txBody>
          <a:bodyPr bIns="1828800" anchor="ctr"/>
          <a:lstStyle>
            <a:lvl1pPr algn="ctr">
              <a:defRPr sz="12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with standard imag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704EB6F-0EB5-414F-AEF5-C56AD69ADF43}" type="datetime3">
              <a:rPr lang="en-US" smtClean="0"/>
              <a:t>31 March 20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FA6680-A83F-6FB7-0990-A7A3F54DC4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marR="0" lvl="0" indent="0" algn="l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Click to add text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2D89A6D-B129-F598-ECF2-CDFD96CA2FF6}"/>
              </a:ext>
            </a:extLst>
          </p:cNvPr>
          <p:cNvCxnSpPr>
            <a:cxnSpLocks/>
          </p:cNvCxnSpPr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C48E8-43FD-171A-5628-EDD4F13205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3400" y="6096697"/>
            <a:ext cx="7284317" cy="10772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11562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able, Char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with table, chart or objec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A668358F-2B82-4E1B-AC57-B03EC85F571B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365266" y="1564876"/>
            <a:ext cx="7262451" cy="4493021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AF699F9-19B4-4241-8415-D375D9EA6F74}" type="datetime3">
              <a:rPr lang="en-US" smtClean="0"/>
              <a:t>31 March 20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5D05D7-1AC8-8C03-D244-5AC29238C9CD}"/>
              </a:ext>
            </a:extLst>
          </p:cNvPr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FA6680-A83F-6FB7-0990-A7A3F54DC4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87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400" baseline="0">
                <a:solidFill>
                  <a:schemeClr val="tx1"/>
                </a:solidFill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marR="0" lvl="0" indent="0" algn="l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Click to add text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2D89A6D-B129-F598-ECF2-CDFD96CA2FF6}"/>
              </a:ext>
            </a:extLst>
          </p:cNvPr>
          <p:cNvCxnSpPr>
            <a:cxnSpLocks/>
          </p:cNvCxnSpPr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91CC0DA-CE10-8B9F-655C-3E5D8E001E54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7851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le, Chart or Object -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2E413-B6A8-DB59-DE82-C77DB9E0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2 table, chart or object - 1:3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86B3DE-D3D5-DA48-A73F-51EB967E86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A668358F-2B82-4E1B-AC57-B03EC85F571B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309570" y="1564876"/>
            <a:ext cx="7318147" cy="4493023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C5D8ADDA-2DC4-5148-BA3D-AEC595DABC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C0506C8-5B85-A941-A9D4-F77855434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Date Placeholder 8">
            <a:extLst>
              <a:ext uri="{FF2B5EF4-FFF2-40B4-BE49-F238E27FC236}">
                <a16:creationId xmlns:a16="http://schemas.microsoft.com/office/drawing/2014/main" id="{4AA85031-1283-354B-8C7D-1D96639E8D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F3EE0DC-8C8B-7A4A-8685-EB7180526FD2}" type="datetime3">
              <a:rPr lang="en-US" smtClean="0"/>
              <a:t>31 March 2026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F01442-EBCF-F40C-F167-C486C9BDCD4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564283" y="1565275"/>
            <a:ext cx="3495675" cy="4501430"/>
          </a:xfrm>
        </p:spPr>
        <p:txBody>
          <a:bodyPr tIns="1188720"/>
          <a:lstStyle>
            <a:lvl1pPr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AE21997-0BB6-A4D0-872A-BCC74D43F77D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47791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ide-bar notes – parch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and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5"/>
            <a:ext cx="2011680" cy="4570476"/>
          </a:xfrm>
          <a:noFill/>
        </p:spPr>
        <p:txBody>
          <a:bodyPr lIns="0" tIns="0" rIns="91440" bIns="91440">
            <a:noAutofit/>
          </a:bodyPr>
          <a:lstStyle>
            <a:lvl1pPr>
              <a:defRPr sz="1200"/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67C3BD8-00AE-0742-8DB1-6FA3CD6B1C0D}" type="datetime3">
              <a:rPr lang="en-US" smtClean="0"/>
              <a:t>31 March 2026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DCA2DA-B5A7-F9D8-B9C9-826D58BF56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25"/>
            <a:ext cx="8869680" cy="4570475"/>
          </a:xfrm>
          <a:noFill/>
        </p:spPr>
        <p:txBody>
          <a:bodyPr tIns="1645920">
            <a:noAutofit/>
          </a:bodyPr>
          <a:lstStyle>
            <a:lvl1pPr algn="ctr"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01F500B-8108-D66D-8E5A-F983BBA5E48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24759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72537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752">
          <p15:clr>
            <a:srgbClr val="FBAE40"/>
          </p15:clr>
        </p15:guide>
        <p15:guide id="8" pos="160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and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Graphic and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69787"/>
          </a:xfrm>
          <a:noFill/>
        </p:spPr>
        <p:txBody>
          <a:bodyPr lIns="0" tIns="0" rIns="91440" bIns="91440">
            <a:noAutofit/>
          </a:bodyPr>
          <a:lstStyle>
            <a:lvl1pPr>
              <a:defRPr sz="1200"/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1637929-26A8-274C-A161-5C062C1E2201}" type="datetime3">
              <a:rPr lang="en-US" smtClean="0"/>
              <a:t>31 March 20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3F41D-4718-6027-A1AD-1408FDC4DF3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793683" y="1563624"/>
            <a:ext cx="8869680" cy="4570476"/>
          </a:xfrm>
          <a:noFill/>
        </p:spPr>
        <p:txBody>
          <a:bodyPr tIns="1280160">
            <a:noAutofit/>
          </a:bodyPr>
          <a:lstStyle>
            <a:lvl1pPr algn="ctr">
              <a:defRPr sz="1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AA89EDA-DE65-ED49-625C-EF4D0209C80A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23550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5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ate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0533B3-EFE8-9E5A-F4B7-44FED418CFA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77"/>
            <a:ext cx="8869680" cy="4570423"/>
          </a:xfrm>
          <a:noFill/>
        </p:spPr>
        <p:txBody>
          <a:bodyPr tIns="1645920">
            <a:noAutofit/>
          </a:bodyPr>
          <a:lstStyle>
            <a:lvl1pPr algn="ctr"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and slate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70475"/>
          </a:xfrm>
          <a:solidFill>
            <a:schemeClr val="accent6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A56AA10-6C1E-0243-B075-C09DF783BF2A}" type="datetime3">
              <a:rPr lang="en-US" smtClean="0"/>
              <a:t>31 March 2026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A97FEB3-4446-CDCD-010B-FEDABA5276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197377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6361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7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affron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0533B3-EFE8-9E5A-F4B7-44FED418CFA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77"/>
            <a:ext cx="8869680" cy="4570423"/>
          </a:xfrm>
          <a:noFill/>
        </p:spPr>
        <p:txBody>
          <a:bodyPr tIns="1645920">
            <a:noAutofit/>
          </a:bodyPr>
          <a:lstStyle>
            <a:lvl1pPr algn="ctr">
              <a:defRPr sz="1200"/>
            </a:lvl1pPr>
          </a:lstStyle>
          <a:p>
            <a:pPr marL="171501" marR="0" lvl="0" indent="-171501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and Saffron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70475"/>
          </a:xfrm>
          <a:solidFill>
            <a:schemeClr val="tx2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A56AA10-6C1E-0243-B075-C09DF783BF2A}" type="datetime3">
              <a:rPr lang="en-US" smtClean="0"/>
              <a:t>31 March 2026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2274F95-6859-33D5-852F-B0C0562902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197377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27180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7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and Slate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Graphic and slate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26136"/>
          </a:xfrm>
          <a:solidFill>
            <a:schemeClr val="accent6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2BCAF0-E24F-DF4E-ABE1-5CE5A5FCE0AC}" type="datetime3">
              <a:rPr lang="en-US" smtClean="0"/>
              <a:t>31 March 20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3F41D-4718-6027-A1AD-1408FDC4DF3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779396" y="1563624"/>
            <a:ext cx="8869680" cy="4526819"/>
          </a:xfrm>
          <a:noFill/>
        </p:spPr>
        <p:txBody>
          <a:bodyPr tIns="1280160">
            <a:noAutofit/>
          </a:bodyPr>
          <a:lstStyle>
            <a:lvl1pPr algn="ctr">
              <a:defRPr sz="1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B8A36A1-4776-7C50-89CC-A6C822ED710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20006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5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and Saffron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71E-A526-070A-1A92-1A521EDB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Graphic and saffron side-bar not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0F573A-CB3B-724A-9918-D45D7C4943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4C42C-42CF-8C57-7CCD-5F9BEDEC3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26136"/>
          </a:xfrm>
          <a:solidFill>
            <a:schemeClr val="tx2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 marL="128016" indent="-128016">
              <a:defRPr sz="1200"/>
            </a:lvl2pPr>
            <a:lvl3pPr marL="292608" indent="-128016">
              <a:defRPr sz="1200"/>
            </a:lvl3pPr>
            <a:lvl4pPr marL="466344" indent="-128016">
              <a:defRPr sz="1200"/>
            </a:lvl4pPr>
            <a:lvl5pPr marL="694944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8486D59-9C0A-9543-9023-919609BFB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CD3CA66-7606-4C45-AF29-00F281C63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50A9930E-A238-0B4A-91FB-00A80931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2BCAF0-E24F-DF4E-ABE1-5CE5A5FCE0AC}" type="datetime3">
              <a:rPr lang="en-US" smtClean="0"/>
              <a:t>31 March 20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3F41D-4718-6027-A1AD-1408FDC4DF3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779396" y="1563624"/>
            <a:ext cx="8869680" cy="4526819"/>
          </a:xfrm>
          <a:noFill/>
        </p:spPr>
        <p:txBody>
          <a:bodyPr tIns="1280160">
            <a:noAutofit/>
          </a:bodyPr>
          <a:lstStyle>
            <a:lvl1pPr algn="ctr">
              <a:defRPr sz="1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8B33BB7-53BD-D85E-4446-6F16369F388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0695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608">
          <p15:clr>
            <a:srgbClr val="FBAE40"/>
          </p15:clr>
        </p15:guide>
        <p15:guide id="8" pos="175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 - 4 Columns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Text and images - 4 columns + header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7" y="1573067"/>
            <a:ext cx="250327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34572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11227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187881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2457" y="3206699"/>
            <a:ext cx="2499041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749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9815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F2E5ECCB-A030-40CA-B054-BC36A02A40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87881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33539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/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31749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9815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1361766B-A83E-447B-BBAA-A5C399B29F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87881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accent6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6D7BFEA-381A-8345-82DA-A71F7B2A5E7E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A3EC240E-9B26-E2EC-A8F6-74D6AE04C1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2855841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E62CE65-B007-3B02-E36A-94B2EBF64A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5012" y="2855841"/>
            <a:ext cx="248455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D0432-E00B-63D3-8BFE-1E67A2E1A7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9815" y="2855841"/>
            <a:ext cx="248455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23ED2EB-DCEE-0374-1099-D5B3662A1E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4619" y="2855841"/>
            <a:ext cx="2487817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191556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7CF01-99B9-5141-9C12-84BF0FDDD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7AF9B-44EF-C010-2F54-F646A3D10A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D2ABCC-E05C-EFBD-F4C1-90AB3128E4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11CAAC-DFDB-BA6A-62C6-FDE6D4EC4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5F1EE1-A9B5-729F-C965-71064E011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3420F4-9AFB-BF2E-5027-7A460F8FE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738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w heading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s with headings - 4 column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7" y="2103124"/>
            <a:ext cx="250327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34572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11227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187881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2457" y="4301322"/>
            <a:ext cx="2499041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749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9815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F2E5ECCB-A030-40CA-B054-BC36A02A40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87881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2486B55-A585-344E-A5BE-3FA38CE05635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13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+ text –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and text – 2 x 2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58640" y="1573402"/>
            <a:ext cx="3474720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358640" y="4083691"/>
            <a:ext cx="3474720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6E1AEF1-97B3-B645-B20D-4CA19CC506DA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37F7731-626C-A780-0B77-58D6D46FFE1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153935" y="1573402"/>
            <a:ext cx="3509428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03DBD102-D151-FE92-3782-2392C90E8A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153935" y="4083691"/>
            <a:ext cx="3509428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A99A-802E-3659-6B52-FA51022B79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925" y="1573212"/>
            <a:ext cx="3489710" cy="4544725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C0C80C0-6A1B-E886-15F9-7C7DD3834B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65499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B41C741-BC50-AFF7-AA7C-A29E8594ED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8640" y="6165499"/>
            <a:ext cx="34747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6AA83ED-0B7A-204E-B5F9-FF358EB25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3935" y="6165499"/>
            <a:ext cx="351850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C060DFA-C111-BC41-1C40-80D6FFE32F0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58640" y="3660565"/>
            <a:ext cx="34747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8FDBD51-D18A-9042-F9B5-E74881958D3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53935" y="3671374"/>
            <a:ext cx="351850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81809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text –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s and text – 3 photo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58640" y="1573403"/>
            <a:ext cx="4583229" cy="4560697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01EFAF6-90EB-344A-95A3-5216600B8A52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37F7731-626C-A780-0B77-58D6D46FFE1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269127" y="1573403"/>
            <a:ext cx="2394236" cy="2115377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03DBD102-D151-FE92-3782-2392C90E8A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69127" y="3994850"/>
            <a:ext cx="2394236" cy="2139250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D1A99A-802E-3659-6B52-FA51022B79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925" y="1573212"/>
            <a:ext cx="3489710" cy="456089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A003E8A-54C4-CB7B-4BD1-86C75D0C4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65499"/>
            <a:ext cx="349865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A59AFF1-B8F5-EF6C-7267-800AAC31D6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8640" y="6165499"/>
            <a:ext cx="4583229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01A5EC0-6356-B336-3C26-5A9866B73B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69127" y="6165499"/>
            <a:ext cx="2394236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02F0B23-7DFC-9278-EF68-8007F527F6C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69127" y="3724448"/>
            <a:ext cx="2394236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32096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5 images + heading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6" y="2101663"/>
            <a:ext cx="5439243" cy="4032437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5978" y="2083756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5C32785-F12B-E046-A31C-1C53461053E5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85978609-77B5-786C-26A9-8A8687356B2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145978" y="4530815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F07562A-A557-9DE5-A065-373483B32D1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72436" y="2083756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ECF28FF-7557-AEA5-5409-0F963C71C41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72436" y="4530815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E615921-4DC2-6C1B-E40D-82C85E9B26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3983" y="1641185"/>
            <a:ext cx="5447814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31FBD5F-F20E-A98F-39CA-95B3D30A702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6207" y="1641185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2759FE6-37D3-E285-6417-622CF0ED974C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9145978" y="1641185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F14F82-1D54-11E5-B131-F5B85DE83CF4}"/>
              </a:ext>
            </a:extLst>
          </p:cNvPr>
          <p:cNvCxnSpPr>
            <a:cxnSpLocks/>
          </p:cNvCxnSpPr>
          <p:nvPr userDrawn="1"/>
        </p:nvCxnSpPr>
        <p:spPr>
          <a:xfrm>
            <a:off x="534221" y="1570338"/>
            <a:ext cx="544781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A427334F-27DB-A50A-C956-1BEA0341BCFD}"/>
              </a:ext>
            </a:extLst>
          </p:cNvPr>
          <p:cNvCxnSpPr>
            <a:cxnSpLocks/>
          </p:cNvCxnSpPr>
          <p:nvPr userDrawn="1"/>
        </p:nvCxnSpPr>
        <p:spPr>
          <a:xfrm>
            <a:off x="6276206" y="1570338"/>
            <a:ext cx="25603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8">
            <a:extLst>
              <a:ext uri="{FF2B5EF4-FFF2-40B4-BE49-F238E27FC236}">
                <a16:creationId xmlns:a16="http://schemas.microsoft.com/office/drawing/2014/main" id="{72DD0A2C-5318-63EB-8275-6913D5B3F889}"/>
              </a:ext>
            </a:extLst>
          </p:cNvPr>
          <p:cNvCxnSpPr>
            <a:cxnSpLocks/>
          </p:cNvCxnSpPr>
          <p:nvPr userDrawn="1"/>
        </p:nvCxnSpPr>
        <p:spPr>
          <a:xfrm>
            <a:off x="9145978" y="1570338"/>
            <a:ext cx="25603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2D59345-9AD7-65E3-2D1B-43FB4C2412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6207" y="4103602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A6FF786-2DF7-8B19-9F9C-F92F813336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45978" y="4103602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5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E173FE2-DB15-0DD8-2E98-3AB8619BF5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89352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92302BE-8FAD-4666-DCE1-55C5C6D0C1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1554" y="6189352"/>
            <a:ext cx="25603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6A0828A-4FAE-4217-20EC-113B5A70AA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45978" y="6189352"/>
            <a:ext cx="25603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7347D94-939E-6F3A-79FA-F354FBA673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61554" y="3743301"/>
            <a:ext cx="2593687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6876C49-2191-EB6E-8CED-183AD30FBDE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45978" y="3754110"/>
            <a:ext cx="25319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324842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–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– 2 x 1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6" y="1573403"/>
            <a:ext cx="5439243" cy="4560697"/>
          </a:xfrm>
          <a:prstGeom prst="rect">
            <a:avLst/>
          </a:prstGeom>
          <a:noFill/>
        </p:spPr>
        <p:txBody>
          <a:bodyPr tIns="91440" bIns="137160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4583" y="1573403"/>
            <a:ext cx="5394960" cy="4560697"/>
          </a:xfrm>
          <a:prstGeom prst="rect">
            <a:avLst/>
          </a:prstGeom>
          <a:noFill/>
        </p:spPr>
        <p:txBody>
          <a:bodyPr tIns="91440" bIns="137160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FE3FFF9-82BE-4F45-AB2A-49760BA53BDB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B19A84E-FCC4-1957-BE73-754D41CC64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89352"/>
            <a:ext cx="54477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0880FA1-15E8-0361-C357-051E64F4F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1554" y="6189352"/>
            <a:ext cx="539490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221810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–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– 2 x 2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27426" y="1573403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7426" y="4138630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61494" y="1573403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61494" y="4138630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F20B7DB-99C0-6E49-A94D-7B2B48A87EA9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8EE2F4C-4A14-E5F0-9411-E68C5E2CCB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3" y="6189352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54768B9-A0BC-F83A-B112-04CAFC34BD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1494" y="6189352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AB9263A-8419-6694-2300-E49E824502F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3983" y="3629035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D86DE33-0640-2158-B378-A9DF6E3D20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61494" y="3629035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92258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rid – 2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mage grid – 2 x 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16302" y="1573404"/>
            <a:ext cx="3522297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C0F00F6-04A2-43CF-917D-F1D9E1A79C4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16302" y="4064891"/>
            <a:ext cx="3522297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E677EAE5-B2ED-459B-AA12-178C3AC56A6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43399" y="1573404"/>
            <a:ext cx="3520440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08DF1A6E-5ED7-4BD1-9AB8-CD92E93E919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343399" y="4064891"/>
            <a:ext cx="3520440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8067E45-C0E7-244B-B2FC-1F0132196F7E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37F7731-626C-A780-0B77-58D6D46FFE1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153934" y="1573404"/>
            <a:ext cx="3521763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03DBD102-D151-FE92-3782-2392C90E8A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153934" y="4064891"/>
            <a:ext cx="3521763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/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A2CAC5-2B6D-35DD-9289-F77085559E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983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6785BEC-D393-33E4-513C-DC5936DAF8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43399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261D2A2-A760-5257-AF82-15F6364A8C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3933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6E39E06-3176-1149-96E3-56ED4AAB01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3983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73874A0-89DB-0872-7FA6-37F40B71E3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43399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8E51F9F-38AB-5F04-CDA2-DDFEFD2646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53933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</p:spTree>
    <p:extLst>
      <p:ext uri="{BB962C8B-B14F-4D97-AF65-F5344CB8AC3E}">
        <p14:creationId xmlns:p14="http://schemas.microsoft.com/office/powerpoint/2010/main" val="394437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Key figures grid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89988F6-6C19-FB4C-A973-2DEDDD5F178D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365484-D15B-FBE5-51F4-865E57F09705}"/>
              </a:ext>
            </a:extLst>
          </p:cNvPr>
          <p:cNvSpPr/>
          <p:nvPr userDrawn="1"/>
        </p:nvSpPr>
        <p:spPr>
          <a:xfrm>
            <a:off x="533400" y="1562100"/>
            <a:ext cx="11125294" cy="45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9B82EA-9A06-9EDA-8C35-1E39D8CF0259}"/>
              </a:ext>
            </a:extLst>
          </p:cNvPr>
          <p:cNvCxnSpPr>
            <a:cxnSpLocks/>
          </p:cNvCxnSpPr>
          <p:nvPr/>
        </p:nvCxnSpPr>
        <p:spPr>
          <a:xfrm>
            <a:off x="3257999" y="1980007"/>
            <a:ext cx="0" cy="3713194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8C4A1D4-F19E-5021-E435-8F0A4457D205}"/>
              </a:ext>
            </a:extLst>
          </p:cNvPr>
          <p:cNvCxnSpPr>
            <a:cxnSpLocks/>
          </p:cNvCxnSpPr>
          <p:nvPr/>
        </p:nvCxnSpPr>
        <p:spPr>
          <a:xfrm>
            <a:off x="6094439" y="1980007"/>
            <a:ext cx="0" cy="3713194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FAC1839-561D-33BB-F5FD-EA260E72CAB1}"/>
              </a:ext>
            </a:extLst>
          </p:cNvPr>
          <p:cNvCxnSpPr>
            <a:cxnSpLocks/>
          </p:cNvCxnSpPr>
          <p:nvPr/>
        </p:nvCxnSpPr>
        <p:spPr>
          <a:xfrm>
            <a:off x="8930879" y="1980007"/>
            <a:ext cx="0" cy="3713194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E8DBA3-384B-8DB7-EFA4-263D2AEBD86C}"/>
              </a:ext>
            </a:extLst>
          </p:cNvPr>
          <p:cNvCxnSpPr>
            <a:cxnSpLocks/>
          </p:cNvCxnSpPr>
          <p:nvPr/>
        </p:nvCxnSpPr>
        <p:spPr>
          <a:xfrm>
            <a:off x="647532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80082AC-428E-2CFA-8E31-8174B29EC8C2}"/>
              </a:ext>
            </a:extLst>
          </p:cNvPr>
          <p:cNvCxnSpPr>
            <a:cxnSpLocks/>
          </p:cNvCxnSpPr>
          <p:nvPr/>
        </p:nvCxnSpPr>
        <p:spPr>
          <a:xfrm>
            <a:off x="3477399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4EBFFFB-5BC8-5ABD-6423-853CE7F88B90}"/>
              </a:ext>
            </a:extLst>
          </p:cNvPr>
          <p:cNvCxnSpPr>
            <a:cxnSpLocks/>
          </p:cNvCxnSpPr>
          <p:nvPr/>
        </p:nvCxnSpPr>
        <p:spPr>
          <a:xfrm>
            <a:off x="6307266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6A0FB-63A2-568A-DAE8-E8B5F2F0939B}"/>
              </a:ext>
            </a:extLst>
          </p:cNvPr>
          <p:cNvCxnSpPr>
            <a:cxnSpLocks/>
          </p:cNvCxnSpPr>
          <p:nvPr/>
        </p:nvCxnSpPr>
        <p:spPr>
          <a:xfrm>
            <a:off x="9137133" y="3827179"/>
            <a:ext cx="2401147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6CD16269-78C3-B0C1-9A1A-A726DEF1E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4447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0" name="Text Placeholder 48">
            <a:extLst>
              <a:ext uri="{FF2B5EF4-FFF2-40B4-BE49-F238E27FC236}">
                <a16:creationId xmlns:a16="http://schemas.microsoft.com/office/drawing/2014/main" id="{DA563734-95AB-0813-1D2C-1555DCC43B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66013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XX</a:t>
            </a:r>
          </a:p>
        </p:txBody>
      </p:sp>
      <p:sp>
        <p:nvSpPr>
          <p:cNvPr id="51" name="Text Placeholder 48">
            <a:extLst>
              <a:ext uri="{FF2B5EF4-FFF2-40B4-BE49-F238E27FC236}">
                <a16:creationId xmlns:a16="http://schemas.microsoft.com/office/drawing/2014/main" id="{B84AA8F5-1B66-3727-2031-145F7F3D8B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35673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76F63185-1E4B-A5D1-6914-253A926D58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8056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53" name="Text Placeholder 48">
            <a:extLst>
              <a:ext uri="{FF2B5EF4-FFF2-40B4-BE49-F238E27FC236}">
                <a16:creationId xmlns:a16="http://schemas.microsoft.com/office/drawing/2014/main" id="{7F77D622-554E-5009-A289-09FBC710C9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4447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X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F832B634-020A-3B52-7EDE-CCD2A07446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66013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5" name="Text Placeholder 48">
            <a:extLst>
              <a:ext uri="{FF2B5EF4-FFF2-40B4-BE49-F238E27FC236}">
                <a16:creationId xmlns:a16="http://schemas.microsoft.com/office/drawing/2014/main" id="{6DD99106-EC39-A88F-0292-659C187A59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5673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.XB</a:t>
            </a:r>
          </a:p>
        </p:txBody>
      </p:sp>
      <p:sp>
        <p:nvSpPr>
          <p:cNvPr id="56" name="Text Placeholder 48">
            <a:extLst>
              <a:ext uri="{FF2B5EF4-FFF2-40B4-BE49-F238E27FC236}">
                <a16:creationId xmlns:a16="http://schemas.microsoft.com/office/drawing/2014/main" id="{62E311D3-D98D-24FE-F1A8-66277E5A205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08056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D763626B-7207-2E7C-8C28-88420CB1F3D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9585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1F3C997B-97B5-17FF-DA61-3926DBDB5C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49585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95BF83A8-6D19-66A5-F87B-12A2CFFD0F0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51151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2" name="Text Placeholder 57">
            <a:extLst>
              <a:ext uri="{FF2B5EF4-FFF2-40B4-BE49-F238E27FC236}">
                <a16:creationId xmlns:a16="http://schemas.microsoft.com/office/drawing/2014/main" id="{76C1369B-4B74-5642-9988-CD43086FCF5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51151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3109FC0F-DEFB-783D-0523-DD1A2A9616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40266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77CAF99F-1395-0DAA-17D7-A7A4F6205C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40266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7">
            <a:extLst>
              <a:ext uri="{FF2B5EF4-FFF2-40B4-BE49-F238E27FC236}">
                <a16:creationId xmlns:a16="http://schemas.microsoft.com/office/drawing/2014/main" id="{64195D92-C76A-CCE3-D656-6637C5F6FD1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02922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6" name="Text Placeholder 57">
            <a:extLst>
              <a:ext uri="{FF2B5EF4-FFF2-40B4-BE49-F238E27FC236}">
                <a16:creationId xmlns:a16="http://schemas.microsoft.com/office/drawing/2014/main" id="{48B6C252-F0AA-06CC-F881-B4C4F1116F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02922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126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302EABD-F98A-87B2-172E-956EEF7193EC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91068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boxes – 5 columns +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>
            <a:extLst>
              <a:ext uri="{FF2B5EF4-FFF2-40B4-BE49-F238E27FC236}">
                <a16:creationId xmlns:a16="http://schemas.microsoft.com/office/drawing/2014/main" id="{975F4350-321D-CEE2-1ACB-129A107C6D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0205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Slate boxes – 5 columns + 1 heade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2100"/>
            <a:ext cx="11125962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A4029C4-B8C6-3F41-8F25-5A76CEA062C9}" type="datetime3">
              <a:rPr lang="en-US" smtClean="0"/>
              <a:t>31 March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853026-5FAB-644F-A881-5C2B6B62A972}"/>
              </a:ext>
            </a:extLst>
          </p:cNvPr>
          <p:cNvCxnSpPr>
            <a:cxnSpLocks/>
          </p:cNvCxnSpPr>
          <p:nvPr userDrawn="1"/>
        </p:nvCxnSpPr>
        <p:spPr>
          <a:xfrm>
            <a:off x="534221" y="1491253"/>
            <a:ext cx="2103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06DBEA6D-E088-AB4E-B949-67FC6B1EEF2C}"/>
              </a:ext>
            </a:extLst>
          </p:cNvPr>
          <p:cNvCxnSpPr>
            <a:cxnSpLocks/>
          </p:cNvCxnSpPr>
          <p:nvPr userDrawn="1"/>
        </p:nvCxnSpPr>
        <p:spPr>
          <a:xfrm>
            <a:off x="2802377" y="1491253"/>
            <a:ext cx="2103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62E4C314-2D7D-3849-907E-707E0B77C432}"/>
              </a:ext>
            </a:extLst>
          </p:cNvPr>
          <p:cNvCxnSpPr>
            <a:cxnSpLocks/>
          </p:cNvCxnSpPr>
          <p:nvPr userDrawn="1"/>
        </p:nvCxnSpPr>
        <p:spPr>
          <a:xfrm>
            <a:off x="5070533" y="1491253"/>
            <a:ext cx="208493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>
            <a:extLst>
              <a:ext uri="{FF2B5EF4-FFF2-40B4-BE49-F238E27FC236}">
                <a16:creationId xmlns:a16="http://schemas.microsoft.com/office/drawing/2014/main" id="{B120A637-A5D9-6F45-A955-B41B79EBB595}"/>
              </a:ext>
            </a:extLst>
          </p:cNvPr>
          <p:cNvCxnSpPr>
            <a:cxnSpLocks/>
          </p:cNvCxnSpPr>
          <p:nvPr userDrawn="1"/>
        </p:nvCxnSpPr>
        <p:spPr>
          <a:xfrm>
            <a:off x="7320508" y="1491253"/>
            <a:ext cx="2085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8">
            <a:extLst>
              <a:ext uri="{FF2B5EF4-FFF2-40B4-BE49-F238E27FC236}">
                <a16:creationId xmlns:a16="http://schemas.microsoft.com/office/drawing/2014/main" id="{CE35EA0C-F325-D579-50B5-410AFF891C30}"/>
              </a:ext>
            </a:extLst>
          </p:cNvPr>
          <p:cNvCxnSpPr>
            <a:cxnSpLocks/>
          </p:cNvCxnSpPr>
          <p:nvPr userDrawn="1"/>
        </p:nvCxnSpPr>
        <p:spPr>
          <a:xfrm>
            <a:off x="9570855" y="1491253"/>
            <a:ext cx="20853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 Placeholder 54">
            <a:extLst>
              <a:ext uri="{FF2B5EF4-FFF2-40B4-BE49-F238E27FC236}">
                <a16:creationId xmlns:a16="http://schemas.microsoft.com/office/drawing/2014/main" id="{3891DA5D-F90C-E51A-05D6-DA408E8F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73510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>
            <a:extLst>
              <a:ext uri="{FF2B5EF4-FFF2-40B4-BE49-F238E27FC236}">
                <a16:creationId xmlns:a16="http://schemas.microsoft.com/office/drawing/2014/main" id="{8181B60E-19DB-7DFF-313F-BC115C0463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92759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>
            <a:extLst>
              <a:ext uri="{FF2B5EF4-FFF2-40B4-BE49-F238E27FC236}">
                <a16:creationId xmlns:a16="http://schemas.microsoft.com/office/drawing/2014/main" id="{D039E13D-DA00-EAC8-B8DB-5DDC60EC53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>
            <a:extLst>
              <a:ext uri="{FF2B5EF4-FFF2-40B4-BE49-F238E27FC236}">
                <a16:creationId xmlns:a16="http://schemas.microsoft.com/office/drawing/2014/main" id="{4629ADD1-0872-DA0D-7248-B69C843834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55313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>
            <a:extLst>
              <a:ext uri="{FF2B5EF4-FFF2-40B4-BE49-F238E27FC236}">
                <a16:creationId xmlns:a16="http://schemas.microsoft.com/office/drawing/2014/main" id="{1C46074C-3490-6A3F-EBDF-CE5BAD260B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>
            <a:extLst>
              <a:ext uri="{FF2B5EF4-FFF2-40B4-BE49-F238E27FC236}">
                <a16:creationId xmlns:a16="http://schemas.microsoft.com/office/drawing/2014/main" id="{087E45AB-D224-B178-1B43-EAA531B8BC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>
            <a:extLst>
              <a:ext uri="{FF2B5EF4-FFF2-40B4-BE49-F238E27FC236}">
                <a16:creationId xmlns:a16="http://schemas.microsoft.com/office/drawing/2014/main" id="{5C9B9FF3-880D-ABA6-8FA5-B028E7B921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>
            <a:extLst>
              <a:ext uri="{FF2B5EF4-FFF2-40B4-BE49-F238E27FC236}">
                <a16:creationId xmlns:a16="http://schemas.microsoft.com/office/drawing/2014/main" id="{098FF0AB-10B5-F478-8472-C4522ED73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44070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>
            <a:extLst>
              <a:ext uri="{FF2B5EF4-FFF2-40B4-BE49-F238E27FC236}">
                <a16:creationId xmlns:a16="http://schemas.microsoft.com/office/drawing/2014/main" id="{CC0B4EBF-633E-4EA1-7C82-325512DFC3A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>
            <a:extLst>
              <a:ext uri="{FF2B5EF4-FFF2-40B4-BE49-F238E27FC236}">
                <a16:creationId xmlns:a16="http://schemas.microsoft.com/office/drawing/2014/main" id="{E6C30D29-48AC-C4DA-626A-EC6634360D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>
            <a:extLst>
              <a:ext uri="{FF2B5EF4-FFF2-40B4-BE49-F238E27FC236}">
                <a16:creationId xmlns:a16="http://schemas.microsoft.com/office/drawing/2014/main" id="{4F4841F3-19B5-3065-2DCE-33183A9B51F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>
            <a:extLst>
              <a:ext uri="{FF2B5EF4-FFF2-40B4-BE49-F238E27FC236}">
                <a16:creationId xmlns:a16="http://schemas.microsoft.com/office/drawing/2014/main" id="{1DD2451D-DEB4-1F70-9F40-5E015A17C6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>
            <a:extLst>
              <a:ext uri="{FF2B5EF4-FFF2-40B4-BE49-F238E27FC236}">
                <a16:creationId xmlns:a16="http://schemas.microsoft.com/office/drawing/2014/main" id="{9B7C6B7E-14FB-CE04-842C-03E679B6CD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>
            <a:extLst>
              <a:ext uri="{FF2B5EF4-FFF2-40B4-BE49-F238E27FC236}">
                <a16:creationId xmlns:a16="http://schemas.microsoft.com/office/drawing/2014/main" id="{FC592861-D882-3DF1-D4E5-8E486C67ED8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>
            <a:extLst>
              <a:ext uri="{FF2B5EF4-FFF2-40B4-BE49-F238E27FC236}">
                <a16:creationId xmlns:a16="http://schemas.microsoft.com/office/drawing/2014/main" id="{8797CBF0-AA15-2598-E400-1271C52E2BB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>
            <a:extLst>
              <a:ext uri="{FF2B5EF4-FFF2-40B4-BE49-F238E27FC236}">
                <a16:creationId xmlns:a16="http://schemas.microsoft.com/office/drawing/2014/main" id="{0EC8FCE3-A6E5-10FE-60E1-066001781A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>
            <a:extLst>
              <a:ext uri="{FF2B5EF4-FFF2-40B4-BE49-F238E27FC236}">
                <a16:creationId xmlns:a16="http://schemas.microsoft.com/office/drawing/2014/main" id="{5BC2ED24-AD95-784F-5DA8-E42C64AB97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>
            <a:extLst>
              <a:ext uri="{FF2B5EF4-FFF2-40B4-BE49-F238E27FC236}">
                <a16:creationId xmlns:a16="http://schemas.microsoft.com/office/drawing/2014/main" id="{11632193-F291-E7DD-C438-7721B93FF1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75801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>
            <a:extLst>
              <a:ext uri="{FF2B5EF4-FFF2-40B4-BE49-F238E27FC236}">
                <a16:creationId xmlns:a16="http://schemas.microsoft.com/office/drawing/2014/main" id="{3E73A9EE-CD12-87F0-77B6-0CA2DFB5C9F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BACB2D4-283C-B935-F651-9F8B672727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39AAEC0-0AA6-0C76-E0F8-838FBE0FFD33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F2CE8B8-850D-F173-FBAD-A38D8734F6D8}"/>
              </a:ext>
            </a:extLst>
          </p:cNvPr>
          <p:cNvCxnSpPr>
            <a:cxnSpLocks/>
          </p:cNvCxnSpPr>
          <p:nvPr userDrawn="1"/>
        </p:nvCxnSpPr>
        <p:spPr>
          <a:xfrm>
            <a:off x="534221" y="1486446"/>
            <a:ext cx="1112751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612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m boxes – 5 columns + 1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>
            <a:extLst>
              <a:ext uri="{FF2B5EF4-FFF2-40B4-BE49-F238E27FC236}">
                <a16:creationId xmlns:a16="http://schemas.microsoft.com/office/drawing/2014/main" id="{975F4350-321D-CEE2-1ACB-129A107C6D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5425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White boxes – 5 columns + 1 heade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2100"/>
            <a:ext cx="11153336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4F186AB-10A0-D14E-ABBD-133ADD9E42F9}" type="datetime3">
              <a:rPr lang="en-US" smtClean="0"/>
              <a:t>31 March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0" name="Text Placeholder 54">
            <a:extLst>
              <a:ext uri="{FF2B5EF4-FFF2-40B4-BE49-F238E27FC236}">
                <a16:creationId xmlns:a16="http://schemas.microsoft.com/office/drawing/2014/main" id="{3891DA5D-F90C-E51A-05D6-DA408E8F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73510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>
            <a:extLst>
              <a:ext uri="{FF2B5EF4-FFF2-40B4-BE49-F238E27FC236}">
                <a16:creationId xmlns:a16="http://schemas.microsoft.com/office/drawing/2014/main" id="{8181B60E-19DB-7DFF-313F-BC115C0463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807979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>
            <a:extLst>
              <a:ext uri="{FF2B5EF4-FFF2-40B4-BE49-F238E27FC236}">
                <a16:creationId xmlns:a16="http://schemas.microsoft.com/office/drawing/2014/main" id="{D039E13D-DA00-EAC8-B8DB-5DDC60EC53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>
            <a:extLst>
              <a:ext uri="{FF2B5EF4-FFF2-40B4-BE49-F238E27FC236}">
                <a16:creationId xmlns:a16="http://schemas.microsoft.com/office/drawing/2014/main" id="{4629ADD1-0872-DA0D-7248-B69C843834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70533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>
            <a:extLst>
              <a:ext uri="{FF2B5EF4-FFF2-40B4-BE49-F238E27FC236}">
                <a16:creationId xmlns:a16="http://schemas.microsoft.com/office/drawing/2014/main" id="{1C46074C-3490-6A3F-EBDF-CE5BAD260B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>
            <a:extLst>
              <a:ext uri="{FF2B5EF4-FFF2-40B4-BE49-F238E27FC236}">
                <a16:creationId xmlns:a16="http://schemas.microsoft.com/office/drawing/2014/main" id="{087E45AB-D224-B178-1B43-EAA531B8BC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>
            <a:extLst>
              <a:ext uri="{FF2B5EF4-FFF2-40B4-BE49-F238E27FC236}">
                <a16:creationId xmlns:a16="http://schemas.microsoft.com/office/drawing/2014/main" id="{5C9B9FF3-880D-ABA6-8FA5-B028E7B921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>
            <a:extLst>
              <a:ext uri="{FF2B5EF4-FFF2-40B4-BE49-F238E27FC236}">
                <a16:creationId xmlns:a16="http://schemas.microsoft.com/office/drawing/2014/main" id="{098FF0AB-10B5-F478-8472-C4522ED73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44070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>
            <a:extLst>
              <a:ext uri="{FF2B5EF4-FFF2-40B4-BE49-F238E27FC236}">
                <a16:creationId xmlns:a16="http://schemas.microsoft.com/office/drawing/2014/main" id="{CC0B4EBF-633E-4EA1-7C82-325512DFC3A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>
            <a:extLst>
              <a:ext uri="{FF2B5EF4-FFF2-40B4-BE49-F238E27FC236}">
                <a16:creationId xmlns:a16="http://schemas.microsoft.com/office/drawing/2014/main" id="{E6C30D29-48AC-C4DA-626A-EC6634360D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>
            <a:extLst>
              <a:ext uri="{FF2B5EF4-FFF2-40B4-BE49-F238E27FC236}">
                <a16:creationId xmlns:a16="http://schemas.microsoft.com/office/drawing/2014/main" id="{4F4841F3-19B5-3065-2DCE-33183A9B51F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>
            <a:extLst>
              <a:ext uri="{FF2B5EF4-FFF2-40B4-BE49-F238E27FC236}">
                <a16:creationId xmlns:a16="http://schemas.microsoft.com/office/drawing/2014/main" id="{1DD2451D-DEB4-1F70-9F40-5E015A17C6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>
            <a:extLst>
              <a:ext uri="{FF2B5EF4-FFF2-40B4-BE49-F238E27FC236}">
                <a16:creationId xmlns:a16="http://schemas.microsoft.com/office/drawing/2014/main" id="{9B7C6B7E-14FB-CE04-842C-03E679B6CD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>
            <a:extLst>
              <a:ext uri="{FF2B5EF4-FFF2-40B4-BE49-F238E27FC236}">
                <a16:creationId xmlns:a16="http://schemas.microsoft.com/office/drawing/2014/main" id="{FC592861-D882-3DF1-D4E5-8E486C67ED8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>
            <a:extLst>
              <a:ext uri="{FF2B5EF4-FFF2-40B4-BE49-F238E27FC236}">
                <a16:creationId xmlns:a16="http://schemas.microsoft.com/office/drawing/2014/main" id="{8797CBF0-AA15-2598-E400-1271C52E2BB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>
            <a:extLst>
              <a:ext uri="{FF2B5EF4-FFF2-40B4-BE49-F238E27FC236}">
                <a16:creationId xmlns:a16="http://schemas.microsoft.com/office/drawing/2014/main" id="{0EC8FCE3-A6E5-10FE-60E1-066001781A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>
            <a:extLst>
              <a:ext uri="{FF2B5EF4-FFF2-40B4-BE49-F238E27FC236}">
                <a16:creationId xmlns:a16="http://schemas.microsoft.com/office/drawing/2014/main" id="{5BC2ED24-AD95-784F-5DA8-E42C64AB97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>
            <a:extLst>
              <a:ext uri="{FF2B5EF4-FFF2-40B4-BE49-F238E27FC236}">
                <a16:creationId xmlns:a16="http://schemas.microsoft.com/office/drawing/2014/main" id="{11632193-F291-E7DD-C438-7721B93FF1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75801"/>
            <a:ext cx="2103120" cy="2001080"/>
          </a:xfrm>
          <a:solidFill>
            <a:schemeClr val="bg2">
              <a:alpha val="50000"/>
            </a:scheme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>
            <a:extLst>
              <a:ext uri="{FF2B5EF4-FFF2-40B4-BE49-F238E27FC236}">
                <a16:creationId xmlns:a16="http://schemas.microsoft.com/office/drawing/2014/main" id="{3E73A9EE-CD12-87F0-77B6-0CA2DFB5C9F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BACB2D4-283C-B935-F651-9F8B672727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3C0DA65-5041-AD5C-9746-5948B6C347F9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878812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387B7-6F01-2B79-4BB0-AF40C6BA7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11DBDD-98ED-3B68-A5FA-223AF01E79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1B5F77-45F2-CB65-53D0-E467787C96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E932E-48E3-C28B-CA1D-6FC649AC7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06D523-FDDB-DFAD-A28A-8E85A4525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E5D3D2-A68D-A198-953F-5903C9C93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88634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– 5 columns + 5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>
            <a:extLst>
              <a:ext uri="{FF2B5EF4-FFF2-40B4-BE49-F238E27FC236}">
                <a16:creationId xmlns:a16="http://schemas.microsoft.com/office/drawing/2014/main" id="{975F4350-321D-CEE2-1ACB-129A107C6D0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0205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74B04-7069-3445-B9EB-0B9B3A3A5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Boxes – 5 columns + 5 header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0C8E14-0945-2A41-8B58-EE8152F56EAE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6149"/>
            <a:ext cx="2103120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5B7EA94-614D-9C4E-9045-378F65B44E0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792759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5BF8424-7520-F84E-9889-71BA2B4A5FAF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5055313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84961A1-9C0B-D84D-844D-D518C2BA1CFD}"/>
              </a:ext>
            </a:extLst>
          </p:cNvPr>
          <p:cNvSpPr>
            <a:spLocks noGrp="1"/>
          </p:cNvSpPr>
          <p:nvPr>
            <p:ph type="body" sz="quarter" idx="5" hasCustomPrompt="1"/>
          </p:nvPr>
        </p:nvSpPr>
        <p:spPr>
          <a:xfrm>
            <a:off x="7317867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35" name="Date Placeholder 12">
            <a:extLst>
              <a:ext uri="{FF2B5EF4-FFF2-40B4-BE49-F238E27FC236}">
                <a16:creationId xmlns:a16="http://schemas.microsoft.com/office/drawing/2014/main" id="{AE38E82C-0141-9346-80B2-D3A85F51330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CC230EB-E2BB-1944-B5B7-93A9953B6CF9}" type="datetime3">
              <a:rPr lang="en-US" smtClean="0"/>
              <a:t>31 March 2026</a:t>
            </a:fld>
            <a:endParaRPr lang="en-US"/>
          </a:p>
        </p:txBody>
      </p:sp>
      <p:sp>
        <p:nvSpPr>
          <p:cNvPr id="32" name="Footer Placeholder 13">
            <a:extLst>
              <a:ext uri="{FF2B5EF4-FFF2-40B4-BE49-F238E27FC236}">
                <a16:creationId xmlns:a16="http://schemas.microsoft.com/office/drawing/2014/main" id="{B2E6DFD2-9821-264D-A7A3-5CCC0FB62F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3" name="Slide Number Placeholder 14">
            <a:extLst>
              <a:ext uri="{FF2B5EF4-FFF2-40B4-BE49-F238E27FC236}">
                <a16:creationId xmlns:a16="http://schemas.microsoft.com/office/drawing/2014/main" id="{B9A2A1B0-A80D-774C-85A1-A2EDD8446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19203E03-2A91-E506-BEE3-032E22E89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80421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er 5</a:t>
            </a:r>
          </a:p>
        </p:txBody>
      </p:sp>
      <p:sp>
        <p:nvSpPr>
          <p:cNvPr id="70" name="Text Placeholder 54">
            <a:extLst>
              <a:ext uri="{FF2B5EF4-FFF2-40B4-BE49-F238E27FC236}">
                <a16:creationId xmlns:a16="http://schemas.microsoft.com/office/drawing/2014/main" id="{3891DA5D-F90C-E51A-05D6-DA408E8F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87072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>
            <a:extLst>
              <a:ext uri="{FF2B5EF4-FFF2-40B4-BE49-F238E27FC236}">
                <a16:creationId xmlns:a16="http://schemas.microsoft.com/office/drawing/2014/main" id="{8181B60E-19DB-7DFF-313F-BC115C0463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92759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>
            <a:extLst>
              <a:ext uri="{FF2B5EF4-FFF2-40B4-BE49-F238E27FC236}">
                <a16:creationId xmlns:a16="http://schemas.microsoft.com/office/drawing/2014/main" id="{D039E13D-DA00-EAC8-B8DB-5DDC60EC53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>
            <a:extLst>
              <a:ext uri="{FF2B5EF4-FFF2-40B4-BE49-F238E27FC236}">
                <a16:creationId xmlns:a16="http://schemas.microsoft.com/office/drawing/2014/main" id="{4629ADD1-0872-DA0D-7248-B69C843834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55313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>
            <a:extLst>
              <a:ext uri="{FF2B5EF4-FFF2-40B4-BE49-F238E27FC236}">
                <a16:creationId xmlns:a16="http://schemas.microsoft.com/office/drawing/2014/main" id="{1C46074C-3490-6A3F-EBDF-CE5BAD260B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>
            <a:extLst>
              <a:ext uri="{FF2B5EF4-FFF2-40B4-BE49-F238E27FC236}">
                <a16:creationId xmlns:a16="http://schemas.microsoft.com/office/drawing/2014/main" id="{087E45AB-D224-B178-1B43-EAA531B8BC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>
            <a:extLst>
              <a:ext uri="{FF2B5EF4-FFF2-40B4-BE49-F238E27FC236}">
                <a16:creationId xmlns:a16="http://schemas.microsoft.com/office/drawing/2014/main" id="{5C9B9FF3-880D-ABA6-8FA5-B028E7B921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>
            <a:extLst>
              <a:ext uri="{FF2B5EF4-FFF2-40B4-BE49-F238E27FC236}">
                <a16:creationId xmlns:a16="http://schemas.microsoft.com/office/drawing/2014/main" id="{098FF0AB-10B5-F478-8472-C4522ED73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57632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>
            <a:extLst>
              <a:ext uri="{FF2B5EF4-FFF2-40B4-BE49-F238E27FC236}">
                <a16:creationId xmlns:a16="http://schemas.microsoft.com/office/drawing/2014/main" id="{CC0B4EBF-633E-4EA1-7C82-325512DFC3A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>
            <a:extLst>
              <a:ext uri="{FF2B5EF4-FFF2-40B4-BE49-F238E27FC236}">
                <a16:creationId xmlns:a16="http://schemas.microsoft.com/office/drawing/2014/main" id="{E6C30D29-48AC-C4DA-626A-EC6634360D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>
            <a:extLst>
              <a:ext uri="{FF2B5EF4-FFF2-40B4-BE49-F238E27FC236}">
                <a16:creationId xmlns:a16="http://schemas.microsoft.com/office/drawing/2014/main" id="{4F4841F3-19B5-3065-2DCE-33183A9B51F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>
            <a:extLst>
              <a:ext uri="{FF2B5EF4-FFF2-40B4-BE49-F238E27FC236}">
                <a16:creationId xmlns:a16="http://schemas.microsoft.com/office/drawing/2014/main" id="{1DD2451D-DEB4-1F70-9F40-5E015A17C6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>
            <a:extLst>
              <a:ext uri="{FF2B5EF4-FFF2-40B4-BE49-F238E27FC236}">
                <a16:creationId xmlns:a16="http://schemas.microsoft.com/office/drawing/2014/main" id="{9B7C6B7E-14FB-CE04-842C-03E679B6CDA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>
            <a:extLst>
              <a:ext uri="{FF2B5EF4-FFF2-40B4-BE49-F238E27FC236}">
                <a16:creationId xmlns:a16="http://schemas.microsoft.com/office/drawing/2014/main" id="{FC592861-D882-3DF1-D4E5-8E486C67ED8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>
            <a:extLst>
              <a:ext uri="{FF2B5EF4-FFF2-40B4-BE49-F238E27FC236}">
                <a16:creationId xmlns:a16="http://schemas.microsoft.com/office/drawing/2014/main" id="{8797CBF0-AA15-2598-E400-1271C52E2BB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>
            <a:extLst>
              <a:ext uri="{FF2B5EF4-FFF2-40B4-BE49-F238E27FC236}">
                <a16:creationId xmlns:a16="http://schemas.microsoft.com/office/drawing/2014/main" id="{0EC8FCE3-A6E5-10FE-60E1-066001781A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>
            <a:extLst>
              <a:ext uri="{FF2B5EF4-FFF2-40B4-BE49-F238E27FC236}">
                <a16:creationId xmlns:a16="http://schemas.microsoft.com/office/drawing/2014/main" id="{5BC2ED24-AD95-784F-5DA8-E42C64AB97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>
            <a:extLst>
              <a:ext uri="{FF2B5EF4-FFF2-40B4-BE49-F238E27FC236}">
                <a16:creationId xmlns:a16="http://schemas.microsoft.com/office/drawing/2014/main" id="{11632193-F291-E7DD-C438-7721B93FF13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89363"/>
            <a:ext cx="2103120" cy="2001080"/>
          </a:xfrm>
          <a:solidFill>
            <a:schemeClr val="accent6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>
            <a:extLst>
              <a:ext uri="{FF2B5EF4-FFF2-40B4-BE49-F238E27FC236}">
                <a16:creationId xmlns:a16="http://schemas.microsoft.com/office/drawing/2014/main" id="{3E73A9EE-CD12-87F0-77B6-0CA2DFB5C9F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BACB2D4-283C-B935-F651-9F8B672727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579881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034776-3E5F-F056-9427-73148E167A96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80C2B74-99BD-77C4-AFB7-FA85463AE808}"/>
              </a:ext>
            </a:extLst>
          </p:cNvPr>
          <p:cNvCxnSpPr>
            <a:cxnSpLocks/>
          </p:cNvCxnSpPr>
          <p:nvPr userDrawn="1"/>
        </p:nvCxnSpPr>
        <p:spPr>
          <a:xfrm>
            <a:off x="534221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6C2AE1CC-709D-1925-4C6E-A68A344193A5}"/>
              </a:ext>
            </a:extLst>
          </p:cNvPr>
          <p:cNvCxnSpPr>
            <a:cxnSpLocks/>
          </p:cNvCxnSpPr>
          <p:nvPr userDrawn="1"/>
        </p:nvCxnSpPr>
        <p:spPr>
          <a:xfrm>
            <a:off x="2802377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7">
            <a:extLst>
              <a:ext uri="{FF2B5EF4-FFF2-40B4-BE49-F238E27FC236}">
                <a16:creationId xmlns:a16="http://schemas.microsoft.com/office/drawing/2014/main" id="{A20D2952-32DE-9B5B-7C8E-C3EAFEA85C0A}"/>
              </a:ext>
            </a:extLst>
          </p:cNvPr>
          <p:cNvCxnSpPr>
            <a:cxnSpLocks/>
          </p:cNvCxnSpPr>
          <p:nvPr userDrawn="1"/>
        </p:nvCxnSpPr>
        <p:spPr>
          <a:xfrm>
            <a:off x="5070532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8">
            <a:extLst>
              <a:ext uri="{FF2B5EF4-FFF2-40B4-BE49-F238E27FC236}">
                <a16:creationId xmlns:a16="http://schemas.microsoft.com/office/drawing/2014/main" id="{A0104644-C44E-F927-D4D1-EFFEA453ECFF}"/>
              </a:ext>
            </a:extLst>
          </p:cNvPr>
          <p:cNvCxnSpPr>
            <a:cxnSpLocks/>
          </p:cNvCxnSpPr>
          <p:nvPr userDrawn="1"/>
        </p:nvCxnSpPr>
        <p:spPr>
          <a:xfrm>
            <a:off x="7320508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0FC5466C-20F4-6EDB-5037-0353D36E1437}"/>
              </a:ext>
            </a:extLst>
          </p:cNvPr>
          <p:cNvCxnSpPr>
            <a:cxnSpLocks/>
          </p:cNvCxnSpPr>
          <p:nvPr userDrawn="1"/>
        </p:nvCxnSpPr>
        <p:spPr>
          <a:xfrm>
            <a:off x="9570855" y="1486446"/>
            <a:ext cx="2103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26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ics overview –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2 topics overview – Slate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02655" y="2108081"/>
            <a:ext cx="640080" cy="548640"/>
          </a:xfrm>
          <a:prstGeom prst="rect">
            <a:avLst/>
          </a:prstGeom>
          <a:noFill/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76775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53298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76775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53298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3D6DA39-FF24-8C4A-BF3A-DA98A8C68F4A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5E1984-FE9B-14DE-6BEF-2CC63B74ACA8}"/>
              </a:ext>
            </a:extLst>
          </p:cNvPr>
          <p:cNvCxnSpPr>
            <a:cxnSpLocks/>
          </p:cNvCxnSpPr>
          <p:nvPr/>
        </p:nvCxnSpPr>
        <p:spPr>
          <a:xfrm>
            <a:off x="412265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AFE795-0850-7B37-82B7-087B5CBA3740}"/>
              </a:ext>
            </a:extLst>
          </p:cNvPr>
          <p:cNvCxnSpPr>
            <a:cxnSpLocks/>
          </p:cNvCxnSpPr>
          <p:nvPr/>
        </p:nvCxnSpPr>
        <p:spPr>
          <a:xfrm>
            <a:off x="7922739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479178" y="2108081"/>
            <a:ext cx="640080" cy="548640"/>
          </a:xfrm>
          <a:prstGeom prst="rect">
            <a:avLst/>
          </a:prstGeom>
          <a:noFill/>
        </p:spPr>
        <p:txBody>
          <a:bodyPr tIns="0" b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2CDF611-6BA1-EB95-B8FC-48AC5E88AB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68925" y="3002870"/>
            <a:ext cx="3123162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429B122-DD36-C8E1-56AF-8989561AFE5E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2CF306-2E80-5208-8BE3-5086CD1B3DDE}"/>
              </a:ext>
            </a:extLst>
          </p:cNvPr>
          <p:cNvSpPr txBox="1"/>
          <p:nvPr userDrawn="1"/>
        </p:nvSpPr>
        <p:spPr>
          <a:xfrm>
            <a:off x="1781092" y="63451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78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ics overview – Saffr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2 topics overview – Saffron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02655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76775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53298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76775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53298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3B00CC-BD4B-D846-AEEF-AFD8AA7BEFDA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5E1984-FE9B-14DE-6BEF-2CC63B74ACA8}"/>
              </a:ext>
            </a:extLst>
          </p:cNvPr>
          <p:cNvCxnSpPr>
            <a:cxnSpLocks/>
          </p:cNvCxnSpPr>
          <p:nvPr/>
        </p:nvCxnSpPr>
        <p:spPr>
          <a:xfrm>
            <a:off x="412265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AFE795-0850-7B37-82B7-087B5CBA3740}"/>
              </a:ext>
            </a:extLst>
          </p:cNvPr>
          <p:cNvCxnSpPr>
            <a:cxnSpLocks/>
          </p:cNvCxnSpPr>
          <p:nvPr/>
        </p:nvCxnSpPr>
        <p:spPr>
          <a:xfrm>
            <a:off x="7922739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479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2CDF611-6BA1-EB95-B8FC-48AC5E88AB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68925" y="3002870"/>
            <a:ext cx="3123162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8876D4E-7154-ACB7-D877-43F7BC539F9D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72727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opics Overview -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612676-DCCE-0861-CF1D-E7CA58F3595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376823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E5E3A91-AB78-B6A1-9BD8-74504AF070C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553863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8511E2F-6875-850E-B211-CFCFC897996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36402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AFF80EC-A35E-DF8F-A599-633717B1AF5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46644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C0A5781-7FE7-FF2B-A967-E3DA8AA8A94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53863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F6390D9-0900-53E3-6010-2B91F87FD91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364028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3322635-3FA9-FC7A-BF5A-FABFEE55BF0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46644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B4384B-EB58-DFF4-D58F-C2392425C236}"/>
              </a:ext>
            </a:extLst>
          </p:cNvPr>
          <p:cNvCxnSpPr>
            <a:cxnSpLocks/>
          </p:cNvCxnSpPr>
          <p:nvPr userDrawn="1"/>
        </p:nvCxnSpPr>
        <p:spPr>
          <a:xfrm>
            <a:off x="327940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A49951-109F-95C6-78D1-A293DC17A862}"/>
              </a:ext>
            </a:extLst>
          </p:cNvPr>
          <p:cNvCxnSpPr>
            <a:cxnSpLocks/>
          </p:cNvCxnSpPr>
          <p:nvPr userDrawn="1"/>
        </p:nvCxnSpPr>
        <p:spPr>
          <a:xfrm>
            <a:off x="6110464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7A271B6-09C4-186C-1C8C-B1ED07ED859E}"/>
              </a:ext>
            </a:extLst>
          </p:cNvPr>
          <p:cNvCxnSpPr>
            <a:cxnSpLocks/>
          </p:cNvCxnSpPr>
          <p:nvPr userDrawn="1"/>
        </p:nvCxnSpPr>
        <p:spPr>
          <a:xfrm>
            <a:off x="890359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D56A4E3A-5FD3-C03D-D80B-DE77EED9FA3B}"/>
              </a:ext>
            </a:extLst>
          </p:cNvPr>
          <p:cNvSpPr>
            <a:spLocks noGrp="1" noChangeAspect="1"/>
          </p:cNvSpPr>
          <p:nvPr>
            <p:ph type="pic" sz="quarter" idx="52" hasCustomPrompt="1"/>
          </p:nvPr>
        </p:nvSpPr>
        <p:spPr>
          <a:xfrm>
            <a:off x="7186988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lang="en-US" sz="7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E97DAE4-E448-D4DF-407D-4DC0417178D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969604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lang="en-US" sz="700" b="0" kern="1200" baseline="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E6D4F3A-1F7A-7672-390F-8364041FF2B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175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3 topics overview – Slate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2E016FA-6FC7-BA4A-A6BB-AA59FE7F775F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E503892-9D58-9A41-B683-8FDFDB62035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94776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opics overview – cream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8"/>
            <a:ext cx="11142158" cy="45610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3 topics overview – Saffron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76823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53863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6402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46644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53863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64028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46644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2444BE6-8FAB-BB4A-99D3-AF8960928058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5E1984-FE9B-14DE-6BEF-2CC63B74ACA8}"/>
              </a:ext>
            </a:extLst>
          </p:cNvPr>
          <p:cNvCxnSpPr>
            <a:cxnSpLocks/>
          </p:cNvCxnSpPr>
          <p:nvPr/>
        </p:nvCxnSpPr>
        <p:spPr>
          <a:xfrm>
            <a:off x="327940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AFE795-0850-7B37-82B7-087B5CBA3740}"/>
              </a:ext>
            </a:extLst>
          </p:cNvPr>
          <p:cNvCxnSpPr>
            <a:cxnSpLocks/>
          </p:cNvCxnSpPr>
          <p:nvPr/>
        </p:nvCxnSpPr>
        <p:spPr>
          <a:xfrm>
            <a:off x="6110464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59171BF-1FB1-5225-DD35-BC2E8F91D28F}"/>
              </a:ext>
            </a:extLst>
          </p:cNvPr>
          <p:cNvCxnSpPr>
            <a:cxnSpLocks/>
          </p:cNvCxnSpPr>
          <p:nvPr/>
        </p:nvCxnSpPr>
        <p:spPr>
          <a:xfrm>
            <a:off x="8903591" y="1980007"/>
            <a:ext cx="0" cy="38568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186988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SzTx/>
              <a:buFontTx/>
              <a:buNone/>
              <a:tabLst/>
              <a:defRPr lang="en-US" sz="700" b="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8F6F5BB-7B95-7A64-7C03-40769C2325B7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9969604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SzTx/>
              <a:buFontTx/>
              <a:buNone/>
              <a:tabLst/>
              <a:defRPr lang="en-US" sz="700" b="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2CDF611-6BA1-EB95-B8FC-48AC5E88AB2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175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3ADE45-A04E-D3FE-F3C4-46C1453A3FD3}"/>
              </a:ext>
            </a:extLst>
          </p:cNvPr>
          <p:cNvSpPr txBox="1"/>
          <p:nvPr userDrawn="1"/>
        </p:nvSpPr>
        <p:spPr>
          <a:xfrm>
            <a:off x="4288221" y="11561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669A14-C814-E9A0-D0CC-7B75CFBE5C65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36419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opics overview –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7741FE0-753B-09BF-8FFF-8B503D8AA7A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39115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5460945-2B51-9F18-FCCB-89F8DCE13BA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56819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D7A913-33BF-EF9E-A215-31033B26EC2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35875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5EF440-758E-8F55-173D-7001807CC95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148171" y="3002870"/>
            <a:ext cx="2289246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47D4ED0-E7BB-AFFB-6031-DCCB66F4AA7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6819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0EF232-7398-36BA-D21B-48D47F43200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421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0D04EE4-48C3-123C-7C55-F918BFE5B90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8171" y="3797078"/>
            <a:ext cx="2289246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73C9FCC-F829-257A-C888-E409BE29B11B}"/>
              </a:ext>
            </a:extLst>
          </p:cNvPr>
          <p:cNvGrpSpPr/>
          <p:nvPr userDrawn="1"/>
        </p:nvGrpSpPr>
        <p:grpSpPr>
          <a:xfrm>
            <a:off x="3308276" y="1980007"/>
            <a:ext cx="5595671" cy="3856881"/>
            <a:chOff x="3194473" y="1979629"/>
            <a:chExt cx="5796067" cy="3714161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459DBB7-C81F-74FE-4C42-A36D2935DB81}"/>
                </a:ext>
              </a:extLst>
            </p:cNvPr>
            <p:cNvCxnSpPr>
              <a:cxnSpLocks/>
            </p:cNvCxnSpPr>
            <p:nvPr/>
          </p:nvCxnSpPr>
          <p:spPr>
            <a:xfrm>
              <a:off x="3194473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B7DC6D9-C009-96BD-D206-DCD722561BF7}"/>
                </a:ext>
              </a:extLst>
            </p:cNvPr>
            <p:cNvCxnSpPr>
              <a:cxnSpLocks/>
            </p:cNvCxnSpPr>
            <p:nvPr/>
          </p:nvCxnSpPr>
          <p:spPr>
            <a:xfrm>
              <a:off x="6103570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8B338BD-9FAD-A5E6-85C2-52931A535151}"/>
                </a:ext>
              </a:extLst>
            </p:cNvPr>
            <p:cNvCxnSpPr>
              <a:cxnSpLocks/>
            </p:cNvCxnSpPr>
            <p:nvPr/>
          </p:nvCxnSpPr>
          <p:spPr>
            <a:xfrm>
              <a:off x="8990540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FEAEC404-1C8F-E638-1F9F-652FF43F9AC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7177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D7773C4A-7495-5A43-50DD-1F86C79E2D3D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9972754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3AD4BA92-F560-555B-50D5-077C6DE504C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583622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8FE42A0-4EB1-6C48-928A-31A809AC3F5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066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617D3FCF-E632-AE29-A69D-27A02192C57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60662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bg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4 topics overview – Slate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9F58041-E4B7-B84C-AF67-EB5A0FCFF1C8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8EB7340-38BB-F1B4-0357-BDF048001CDB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1289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opics overview – cream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4BA780-7298-DA65-EB65-804DD3338EE6}"/>
              </a:ext>
            </a:extLst>
          </p:cNvPr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4 topics overview – Saffron box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9115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1CFE722-1A52-401A-B2D2-ECA66919D1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6819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FF1DCF-1443-4B92-AF05-CAB34130F14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875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526D918-AAB6-450B-A29A-7C5BDA28C4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48171" y="3002870"/>
            <a:ext cx="2289246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6819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421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48171" y="3797078"/>
            <a:ext cx="2289246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0250DD5-7175-544E-8A61-31ABE6C4E6F0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5D4B688-5E30-C837-D803-FFAB3F159E72}"/>
              </a:ext>
            </a:extLst>
          </p:cNvPr>
          <p:cNvGrpSpPr/>
          <p:nvPr userDrawn="1"/>
        </p:nvGrpSpPr>
        <p:grpSpPr>
          <a:xfrm>
            <a:off x="3308276" y="1980007"/>
            <a:ext cx="5595671" cy="3856881"/>
            <a:chOff x="3194473" y="1979629"/>
            <a:chExt cx="5796067" cy="3714161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15E1984-FE9B-14DE-6BEF-2CC63B74ACA8}"/>
                </a:ext>
              </a:extLst>
            </p:cNvPr>
            <p:cNvCxnSpPr>
              <a:cxnSpLocks/>
            </p:cNvCxnSpPr>
            <p:nvPr/>
          </p:nvCxnSpPr>
          <p:spPr>
            <a:xfrm>
              <a:off x="3194473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BAFE795-0850-7B37-82B7-087B5CBA3740}"/>
                </a:ext>
              </a:extLst>
            </p:cNvPr>
            <p:cNvCxnSpPr>
              <a:cxnSpLocks/>
            </p:cNvCxnSpPr>
            <p:nvPr/>
          </p:nvCxnSpPr>
          <p:spPr>
            <a:xfrm>
              <a:off x="6103570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59171BF-1FB1-5225-DD35-BC2E8F91D28F}"/>
                </a:ext>
              </a:extLst>
            </p:cNvPr>
            <p:cNvCxnSpPr>
              <a:cxnSpLocks/>
            </p:cNvCxnSpPr>
            <p:nvPr/>
          </p:nvCxnSpPr>
          <p:spPr>
            <a:xfrm>
              <a:off x="8990540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2E255960-4529-A520-2CE4-4214A8B8E85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177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E8F6F5BB-7B95-7A64-7C03-40769C2325B7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9972754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4E422F0C-EFCE-3F9D-20E1-6116E59BFB1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583622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125B8882-4F3E-1100-DA5C-0974F3D609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066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accent6"/>
                </a:solidFill>
              </a:defRPr>
            </a:lvl1pPr>
            <a:lvl2pPr marL="171501" indent="-171501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415" indent="-17150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17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1FFE5FBF-96D0-B3BE-DAB3-6A9436DCCE0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0662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chemeClr val="tx1"/>
                </a:solidFill>
              </a:defRPr>
            </a:lvl1pPr>
            <a:lvl2pPr marL="128054" indent="-128054">
              <a:defRPr sz="1200">
                <a:solidFill>
                  <a:schemeClr val="bg1"/>
                </a:solidFill>
              </a:defRPr>
            </a:lvl2pPr>
            <a:lvl3pPr marL="292696" indent="-128054">
              <a:defRPr sz="1200">
                <a:solidFill>
                  <a:schemeClr val="bg1"/>
                </a:solidFill>
              </a:defRPr>
            </a:lvl3pPr>
            <a:lvl4pPr marL="466484" indent="-128054">
              <a:defRPr sz="1200">
                <a:solidFill>
                  <a:schemeClr val="bg1"/>
                </a:solidFill>
              </a:defRPr>
            </a:lvl4pPr>
            <a:lvl5pPr marL="695152" indent="-182935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D9FCA94-895A-B774-1F9D-7EB57C1D6323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74002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+ circle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337202D7-3484-7116-1949-B52573DBB48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26904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2655083F-BFD3-6B5A-277A-9D5B036121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58759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FEA2D67F-C91D-B705-DA2B-E05F6F7490B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92742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728293-9813-258F-553B-C282060C0D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2631859"/>
            <a:ext cx="2536459" cy="1057578"/>
          </a:xfrm>
          <a:solidFill>
            <a:schemeClr val="accent6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chemeClr val="bg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652D1336-5902-3CC0-6CFF-493CC621FF6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072601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14BCBEFC-892E-D958-E337-B1D1B39A2CF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204456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907F5581-848B-BB57-24F3-8B2A0C1D3F7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38439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B84BC883-75FB-AD39-C777-DAA0C8940BD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488154" y="2261114"/>
            <a:ext cx="642937" cy="642938"/>
          </a:xfrm>
          <a:prstGeom prst="ellipse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9B2C85-4492-B1C5-2591-3209554B4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4 boxes + circles with icon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3B39044-68AF-F44E-A8C0-7E5AF981D2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3B06592-D9C5-41F4-97A0-B95374E5FC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2457" y="3934673"/>
            <a:ext cx="2492099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67322069-1374-4AB8-AFDE-F383FB4989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96587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34AEFC8D-E7FE-4CE7-ABA7-C78ABA72F5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78598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1361766B-A83E-447B-BBAA-A5C399B29F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44449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054" indent="-128054">
              <a:defRPr sz="1200"/>
            </a:lvl2pPr>
            <a:lvl3pPr marL="292696" indent="-128054">
              <a:defRPr sz="1200"/>
            </a:lvl3pPr>
            <a:lvl4pPr marL="466484" indent="-128054">
              <a:defRPr sz="1200"/>
            </a:lvl4pPr>
            <a:lvl5pPr marL="695152" indent="-182935">
              <a:defRPr sz="1200"/>
            </a:lvl5pPr>
          </a:lstStyle>
          <a:p>
            <a:pPr marL="0" lvl="0" indent="0" algn="l" defTabSz="914674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>
            <a:extLst>
              <a:ext uri="{FF2B5EF4-FFF2-40B4-BE49-F238E27FC236}">
                <a16:creationId xmlns:a16="http://schemas.microsoft.com/office/drawing/2014/main" id="{811900A0-BA48-3F47-8BFE-52BDF49C5E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9D3F47A-0A18-894C-A58B-5B231D1D4363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7">
            <a:extLst>
              <a:ext uri="{FF2B5EF4-FFF2-40B4-BE49-F238E27FC236}">
                <a16:creationId xmlns:a16="http://schemas.microsoft.com/office/drawing/2014/main" id="{3B3164CF-E4CF-D64B-9D47-F28E47740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6" name="Slide Number Placeholder 18">
            <a:extLst>
              <a:ext uri="{FF2B5EF4-FFF2-40B4-BE49-F238E27FC236}">
                <a16:creationId xmlns:a16="http://schemas.microsoft.com/office/drawing/2014/main" id="{4A68CD89-5C54-5D4F-A1F4-9F4E7F78F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8D88DD19-8C19-527D-3173-8B2B909D686E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1586585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8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0" name="Picture Placeholder 49">
            <a:extLst>
              <a:ext uri="{FF2B5EF4-FFF2-40B4-BE49-F238E27FC236}">
                <a16:creationId xmlns:a16="http://schemas.microsoft.com/office/drawing/2014/main" id="{06918ECE-9808-CE13-4F2D-5270B03DD446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4436870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2" name="Picture Placeholder 49">
            <a:extLst>
              <a:ext uri="{FF2B5EF4-FFF2-40B4-BE49-F238E27FC236}">
                <a16:creationId xmlns:a16="http://schemas.microsoft.com/office/drawing/2014/main" id="{7395BF2D-3E02-669C-2131-0BBD2119C0EE}"/>
              </a:ext>
            </a:extLst>
          </p:cNvPr>
          <p:cNvSpPr>
            <a:spLocks noGrp="1" noChangeAspect="1"/>
          </p:cNvSpPr>
          <p:nvPr>
            <p:ph type="pic" sz="quarter" idx="58" hasCustomPrompt="1"/>
          </p:nvPr>
        </p:nvSpPr>
        <p:spPr>
          <a:xfrm>
            <a:off x="7302887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4" name="Picture Placeholder 49">
            <a:extLst>
              <a:ext uri="{FF2B5EF4-FFF2-40B4-BE49-F238E27FC236}">
                <a16:creationId xmlns:a16="http://schemas.microsoft.com/office/drawing/2014/main" id="{9BB70CC7-65FD-F58F-96D7-D6471D84E9E5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10171032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6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221AC68-3667-71AF-F68F-25FC0A0F9822}"/>
              </a:ext>
            </a:extLst>
          </p:cNvPr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0246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2C190-B5C9-47FA-10C6-07F337F15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5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944A30D-2044-A849-808A-30EB8C0A3D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E1A5254C-65E5-A241-9FAB-78AB621179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233467-277A-554F-B4E3-8C0EA14B90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74E693F-E035-4E4C-962E-AFCF3C0CD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2DABD545-C34D-584B-99D7-D43B9E30274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922123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DDB021E-4B46-334D-B0F3-FF34632F58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2123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67A86AD-87F6-B94C-AAC1-33B1E46F2A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22123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952BDE5-E6FC-C944-BBD9-066D6D611D1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301788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6D90A936-F1A5-214C-81E0-2ADED46626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1788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17CFD62-2C53-D040-81ED-81883ACEC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1788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C5999DBE-31CD-3E4A-8E41-8CB7A79C511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81452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6032FB1D-C194-E143-B857-24789F95219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1452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1479EC3-8A55-EF41-8FA7-17E0062038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81452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4" name="Picture Placeholder 15">
            <a:extLst>
              <a:ext uri="{FF2B5EF4-FFF2-40B4-BE49-F238E27FC236}">
                <a16:creationId xmlns:a16="http://schemas.microsoft.com/office/drawing/2014/main" id="{75E281BA-D0B1-F044-BA13-37D53776632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061115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74B6D29B-D885-7040-97B3-AD86B0B031B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61115" y="4349750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DEE0884A-5AE0-9F49-B2E9-B9D7EAB2D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61115" y="4516148"/>
            <a:ext cx="1600617" cy="1538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5" name="Date Placeholder 18">
            <a:extLst>
              <a:ext uri="{FF2B5EF4-FFF2-40B4-BE49-F238E27FC236}">
                <a16:creationId xmlns:a16="http://schemas.microsoft.com/office/drawing/2014/main" id="{084A004B-5886-8340-B002-FC3D82E3CA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2921FEB-FCCA-EE44-A229-4D425E212CB9}" type="datetime3">
              <a:rPr lang="en-US" smtClean="0"/>
              <a:t>31 March 2026</a:t>
            </a:fld>
            <a:endParaRPr lang="en-US"/>
          </a:p>
        </p:txBody>
      </p:sp>
      <p:sp>
        <p:nvSpPr>
          <p:cNvPr id="23" name="Footer Placeholder 19">
            <a:extLst>
              <a:ext uri="{FF2B5EF4-FFF2-40B4-BE49-F238E27FC236}">
                <a16:creationId xmlns:a16="http://schemas.microsoft.com/office/drawing/2014/main" id="{CBF197E8-1900-1548-A0B5-F735F91D8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4" name="Slide Number Placeholder 20">
            <a:extLst>
              <a:ext uri="{FF2B5EF4-FFF2-40B4-BE49-F238E27FC236}">
                <a16:creationId xmlns:a16="http://schemas.microsoft.com/office/drawing/2014/main" id="{A079C675-3CEF-F544-89F7-C5F882BEC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11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- Up t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3F454-0310-DEE5-31C7-6734F23548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eadshots – up to 10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B090795-CF1C-0F4A-98A1-07B20F9206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501" lvl="0" indent="-171501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838D6EDE-133D-BF4C-ADCF-BDE908D8C2C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143F11-B6EE-FD47-8F9A-9E806FC057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15733FC-9D90-3A4D-987E-D546402A57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4D3852B-6D10-1E4C-BEE6-EAAE7AA5713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922122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46DC48B-7BAA-D14A-8C1C-A485D06554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212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14AD23-0C8C-AD40-8970-D764AD456D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2212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74BC8EA1-B49E-F443-B9BC-B5EE2BDF8F4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301787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8771A45-1D33-664D-AEC4-8264DE9ED1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178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502DC39-836C-8448-BDD3-E0F72147DA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0178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DF9626B2-1C0E-9347-9E95-CCFA46D80E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81451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B22B87F2-FF41-F147-8F75-40224BE2304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1452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E77E212-EABF-7C48-A50F-71DCCA4FDC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81452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Picture Placeholder 15">
            <a:extLst>
              <a:ext uri="{FF2B5EF4-FFF2-40B4-BE49-F238E27FC236}">
                <a16:creationId xmlns:a16="http://schemas.microsoft.com/office/drawing/2014/main" id="{6C769E0E-43DB-B942-94A1-DF4B9E41B8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061115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3F6500DD-E646-CB4C-AAC9-09228094E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61115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F70E3427-442D-8241-922A-798DC3805D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61115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A5E7FC2D-F04B-CA44-8D49-9199673FB94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42458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6040FF23-6F81-C548-8DD7-99326E441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2458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5299F0A2-BC7F-8C4D-9DEC-C866B4E3AC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245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id="{EF93156C-780A-4344-8CCB-92A44DFA5C66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922123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642F354E-1DF3-3D49-B35F-1FEFBFC44E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22916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3">
            <a:extLst>
              <a:ext uri="{FF2B5EF4-FFF2-40B4-BE49-F238E27FC236}">
                <a16:creationId xmlns:a16="http://schemas.microsoft.com/office/drawing/2014/main" id="{198F4741-5459-714B-A67E-F05FDD1C303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2212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3" name="Picture Placeholder 24">
            <a:extLst>
              <a:ext uri="{FF2B5EF4-FFF2-40B4-BE49-F238E27FC236}">
                <a16:creationId xmlns:a16="http://schemas.microsoft.com/office/drawing/2014/main" id="{9850B3A4-BEB5-914D-9E29-5541AFF2C7F5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5301788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B37A47E2-D8C5-CE44-9F3E-90D74462C6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03374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20DD7057-BB3F-034A-B6C8-8BB91A7DCF6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0178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9" name="Picture Placeholder 27">
            <a:extLst>
              <a:ext uri="{FF2B5EF4-FFF2-40B4-BE49-F238E27FC236}">
                <a16:creationId xmlns:a16="http://schemas.microsoft.com/office/drawing/2014/main" id="{28C61416-CCEB-8D4B-A80F-2900B5D57F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7681452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>
            <a:extLst>
              <a:ext uri="{FF2B5EF4-FFF2-40B4-BE49-F238E27FC236}">
                <a16:creationId xmlns:a16="http://schemas.microsoft.com/office/drawing/2014/main" id="{605A5D19-741C-6D46-8D9C-AD40D4513C0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683832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4A0858AF-A93F-C345-832C-5DCF9542C8B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681452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5" name="Picture Placeholder 30">
            <a:extLst>
              <a:ext uri="{FF2B5EF4-FFF2-40B4-BE49-F238E27FC236}">
                <a16:creationId xmlns:a16="http://schemas.microsoft.com/office/drawing/2014/main" id="{C756789D-9274-1B45-BB84-9452FA9CCAB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061115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>
            <a:extLst>
              <a:ext uri="{FF2B5EF4-FFF2-40B4-BE49-F238E27FC236}">
                <a16:creationId xmlns:a16="http://schemas.microsoft.com/office/drawing/2014/main" id="{09811651-4B31-B740-BE67-D9D6934FFA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64291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9BFBE019-84D6-9340-8BC7-341DAC618FE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61115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1" name="Date Placeholder 33">
            <a:extLst>
              <a:ext uri="{FF2B5EF4-FFF2-40B4-BE49-F238E27FC236}">
                <a16:creationId xmlns:a16="http://schemas.microsoft.com/office/drawing/2014/main" id="{67E761B3-68F1-1441-AB68-94319C540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7B12A27-0C47-814E-A0E0-27C3617F84C5}" type="datetime3">
              <a:rPr lang="en-US" smtClean="0"/>
              <a:t>31 March 2026</a:t>
            </a:fld>
            <a:endParaRPr lang="en-US"/>
          </a:p>
        </p:txBody>
      </p:sp>
      <p:sp>
        <p:nvSpPr>
          <p:cNvPr id="39" name="Footer Placeholder 34">
            <a:extLst>
              <a:ext uri="{FF2B5EF4-FFF2-40B4-BE49-F238E27FC236}">
                <a16:creationId xmlns:a16="http://schemas.microsoft.com/office/drawing/2014/main" id="{58CC1679-E6A1-FF48-8884-C557A2866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0" name="Slide Number Placeholder 35">
            <a:extLst>
              <a:ext uri="{FF2B5EF4-FFF2-40B4-BE49-F238E27FC236}">
                <a16:creationId xmlns:a16="http://schemas.microsoft.com/office/drawing/2014/main" id="{7BDF5D61-8DA9-3B47-ACAE-55FC0F622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5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79.xml"/><Relationship Id="rId47" Type="http://schemas.openxmlformats.org/officeDocument/2006/relationships/slideLayout" Target="../slideLayouts/slideLayout84.xml"/><Relationship Id="rId63" Type="http://schemas.openxmlformats.org/officeDocument/2006/relationships/slideLayout" Target="../slideLayouts/slideLayout100.xml"/><Relationship Id="rId68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slideLayout" Target="../slideLayouts/slideLayout77.xml"/><Relationship Id="rId45" Type="http://schemas.openxmlformats.org/officeDocument/2006/relationships/slideLayout" Target="../slideLayouts/slideLayout82.xml"/><Relationship Id="rId53" Type="http://schemas.openxmlformats.org/officeDocument/2006/relationships/slideLayout" Target="../slideLayouts/slideLayout90.xml"/><Relationship Id="rId58" Type="http://schemas.openxmlformats.org/officeDocument/2006/relationships/slideLayout" Target="../slideLayouts/slideLayout95.xml"/><Relationship Id="rId6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42.xml"/><Relationship Id="rId61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43" Type="http://schemas.openxmlformats.org/officeDocument/2006/relationships/slideLayout" Target="../slideLayouts/slideLayout80.xml"/><Relationship Id="rId48" Type="http://schemas.openxmlformats.org/officeDocument/2006/relationships/slideLayout" Target="../slideLayouts/slideLayout85.xml"/><Relationship Id="rId56" Type="http://schemas.openxmlformats.org/officeDocument/2006/relationships/slideLayout" Target="../slideLayouts/slideLayout93.xml"/><Relationship Id="rId64" Type="http://schemas.openxmlformats.org/officeDocument/2006/relationships/slideLayout" Target="../slideLayouts/slideLayout101.xml"/><Relationship Id="rId69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45.xml"/><Relationship Id="rId51" Type="http://schemas.openxmlformats.org/officeDocument/2006/relationships/slideLayout" Target="../slideLayouts/slideLayout88.xml"/><Relationship Id="rId72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Relationship Id="rId46" Type="http://schemas.openxmlformats.org/officeDocument/2006/relationships/slideLayout" Target="../slideLayouts/slideLayout83.xml"/><Relationship Id="rId59" Type="http://schemas.openxmlformats.org/officeDocument/2006/relationships/slideLayout" Target="../slideLayouts/slideLayout96.xml"/><Relationship Id="rId67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57.xml"/><Relationship Id="rId41" Type="http://schemas.openxmlformats.org/officeDocument/2006/relationships/slideLayout" Target="../slideLayouts/slideLayout78.xml"/><Relationship Id="rId54" Type="http://schemas.openxmlformats.org/officeDocument/2006/relationships/slideLayout" Target="../slideLayouts/slideLayout91.xml"/><Relationship Id="rId62" Type="http://schemas.openxmlformats.org/officeDocument/2006/relationships/slideLayout" Target="../slideLayouts/slideLayout99.xml"/><Relationship Id="rId7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49" Type="http://schemas.openxmlformats.org/officeDocument/2006/relationships/slideLayout" Target="../slideLayouts/slideLayout86.xml"/><Relationship Id="rId57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68.xml"/><Relationship Id="rId44" Type="http://schemas.openxmlformats.org/officeDocument/2006/relationships/slideLayout" Target="../slideLayouts/slideLayout81.xml"/><Relationship Id="rId52" Type="http://schemas.openxmlformats.org/officeDocument/2006/relationships/slideLayout" Target="../slideLayouts/slideLayout89.xml"/><Relationship Id="rId60" Type="http://schemas.openxmlformats.org/officeDocument/2006/relationships/slideLayout" Target="../slideLayouts/slideLayout97.xml"/><Relationship Id="rId65" Type="http://schemas.openxmlformats.org/officeDocument/2006/relationships/slideLayout" Target="../slideLayouts/slideLayout102.xml"/><Relationship Id="rId73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9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71.xml"/><Relationship Id="rId50" Type="http://schemas.openxmlformats.org/officeDocument/2006/relationships/slideLayout" Target="../slideLayouts/slideLayout87.xml"/><Relationship Id="rId55" Type="http://schemas.openxmlformats.org/officeDocument/2006/relationships/slideLayout" Target="../slideLayouts/slideLayout92.xml"/><Relationship Id="rId7" Type="http://schemas.openxmlformats.org/officeDocument/2006/relationships/slideLayout" Target="../slideLayouts/slideLayout44.xml"/><Relationship Id="rId71" Type="http://schemas.openxmlformats.org/officeDocument/2006/relationships/slideLayout" Target="../slideLayouts/slideLayout10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slideLayout" Target="../slideLayouts/slideLayout152.xml"/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46" Type="http://schemas.openxmlformats.org/officeDocument/2006/relationships/tags" Target="../tags/tag3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3184FF-C8C4-869C-8D30-AD70E640B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DAD53-2027-CFBE-4BE0-AB1EE9FBE9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2CECE1-E09D-118C-71EB-637E925172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DED0D61-17B3-44A9-9999-8F39D972DDDC}" type="datetimeFigureOut">
              <a:rPr lang="en-US" smtClean="0"/>
              <a:t>3/31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EB4C0-D7EB-5A5D-A72D-55C1DAE8E5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1884C0-3E52-03BB-5C88-2D88DD782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471D3B1-6881-47AE-B3CE-569491BC3C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937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EE18DC-B60B-0D50-6CDE-9942EDE85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97897C-B85D-C4DF-DB99-BA887F629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29E6B1-EA5F-4347-BF56-A70AE068B9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A1C130-2CC3-4888-8DBA-D9FFE337BF3B}" type="datetimeFigureOut">
              <a:rPr lang="en-CH" smtClean="0"/>
              <a:t>31/03/2026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EF2AF-EE63-817D-B65E-78CBF946FA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D2045F-5B9B-1BBB-0353-E36A1F3E06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7AA2E8A-1CF4-4DAB-90ED-46B121EA6193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81061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CH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3/31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8" name="Picture 7" descr="A drawing of a person&#10;&#10;Description automatically generated">
            <a:extLst>
              <a:ext uri="{FF2B5EF4-FFF2-40B4-BE49-F238E27FC236}">
                <a16:creationId xmlns:a16="http://schemas.microsoft.com/office/drawing/2014/main" id="{8D78C839-60B9-D663-FA4D-E3E3522B146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8323" y="6425342"/>
            <a:ext cx="1530927" cy="22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23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EDEAE35-7355-4440-BA2A-A9D763578AB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FBAE4259-5D7D-4A23-9913-89833214BE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DC88C-2B8D-4CDC-A966-9587D2BDDD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91000D2-CAE6-49BE-96C6-F30C6E83F6DC}" type="datetimeFigureOut">
              <a:rPr lang="en-US"/>
              <a:pPr>
                <a:defRPr/>
              </a:pPr>
              <a:t>3/31/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2902A-B6D5-42B7-AF46-49A1A85F7C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180EB-3F04-4851-B6A8-BF58094DC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213543E-7578-49FA-A272-369487A2D22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31" name="Picture 6">
            <a:extLst>
              <a:ext uri="{FF2B5EF4-FFF2-40B4-BE49-F238E27FC236}">
                <a16:creationId xmlns:a16="http://schemas.microsoft.com/office/drawing/2014/main" id="{F491E23E-FB95-4F20-BEAB-26A64D1265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2499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8" r:id="rId2"/>
    <p:sldLayoutId id="2147483739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5pPr>
      <a:lvl6pPr marL="34292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6pPr>
      <a:lvl7pPr marL="68585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7pPr>
      <a:lvl8pPr marL="102878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8pPr>
      <a:lvl9pPr marL="1371715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charset="0"/>
        </a:defRPr>
      </a:lvl9pPr>
    </p:titleStyle>
    <p:bodyStyle>
      <a:lvl1pPr marL="257196" indent="-2571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59" indent="-2143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22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51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180" indent="-17146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09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38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966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97" indent="-171465" algn="l" defTabSz="68585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9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5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87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1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45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7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03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32" algn="l" defTabSz="6858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35487" y="535517"/>
            <a:ext cx="11120967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CFDBF2F-985A-41CB-86F1-7456683154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487" y="1568132"/>
            <a:ext cx="11120966" cy="426116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0CE9821-4EAA-4CBC-B4C8-160B7A126B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2A02819-2556-6D4D-9652-FC025265AC09}" type="datetime3">
              <a:rPr lang="en-US" smtClean="0"/>
              <a:pPr/>
              <a:t>31 March 2026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9646D8E4-CFBD-654F-88D5-B9988759092F}"/>
              </a:ext>
            </a:extLst>
          </p:cNvPr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/>
            <a:r>
              <a:rPr lang="en-US" sz="700">
                <a:solidFill>
                  <a:schemeClr val="accent6"/>
                </a:solidFill>
              </a:rPr>
              <a:t>©Gates Foundation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7"/>
          <p:cNvCxnSpPr>
            <a:cxnSpLocks/>
          </p:cNvCxnSpPr>
          <p:nvPr/>
        </p:nvCxnSpPr>
        <p:spPr>
          <a:xfrm>
            <a:off x="535517" y="6465243"/>
            <a:ext cx="1112096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168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  <p:sldLayoutId id="2147483808" r:id="rId55"/>
    <p:sldLayoutId id="2147483809" r:id="rId56"/>
    <p:sldLayoutId id="2147483810" r:id="rId57"/>
    <p:sldLayoutId id="2147483811" r:id="rId58"/>
    <p:sldLayoutId id="2147483812" r:id="rId59"/>
    <p:sldLayoutId id="2147483813" r:id="rId60"/>
    <p:sldLayoutId id="2147483814" r:id="rId61"/>
    <p:sldLayoutId id="2147483815" r:id="rId62"/>
    <p:sldLayoutId id="2147483816" r:id="rId63"/>
    <p:sldLayoutId id="2147483817" r:id="rId64"/>
    <p:sldLayoutId id="2147483818" r:id="rId65"/>
    <p:sldLayoutId id="2147483819" r:id="rId66"/>
    <p:sldLayoutId id="2147483820" r:id="rId67"/>
    <p:sldLayoutId id="2147483821" r:id="rId68"/>
    <p:sldLayoutId id="2147483822" r:id="rId69"/>
    <p:sldLayoutId id="2147483823" r:id="rId70"/>
    <p:sldLayoutId id="2147483824" r:id="rId71"/>
    <p:sldLayoutId id="2147483825" r:id="rId7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674" rtl="0" eaLnBrk="1" latinLnBrk="0" hangingPunct="1">
        <a:lnSpc>
          <a:spcPts val="2301"/>
        </a:lnSpc>
        <a:spcBef>
          <a:spcPct val="0"/>
        </a:spcBef>
        <a:buNone/>
        <a:defRPr lang="en-US" sz="2800" b="0" i="0" kern="1200" cap="none" baseline="0" dirty="0">
          <a:solidFill>
            <a:schemeClr val="accent6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>
          <a:schemeClr val="accent6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171501" indent="-171501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>
          <a:schemeClr val="accent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365760" indent="-169914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Tx/>
        <a:buFont typeface="System Font Regular"/>
        <a:buChar char="–"/>
        <a:tabLst>
          <a:tab pos="171501" algn="l"/>
          <a:tab pos="1203686" algn="l"/>
        </a:tabLst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548640" indent="-182880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Tx/>
        <a:buSzPct val="7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4pPr>
      <a:lvl5pPr marL="743173" indent="-182880" algn="l" defTabSz="914674" rtl="0" eaLnBrk="1" latinLnBrk="0" hangingPunct="1">
        <a:lnSpc>
          <a:spcPct val="114000"/>
        </a:lnSpc>
        <a:spcBef>
          <a:spcPts val="300"/>
        </a:spcBef>
        <a:spcAft>
          <a:spcPts val="300"/>
        </a:spcAft>
        <a:buClrTx/>
        <a:buSzPct val="100000"/>
        <a:buFont typeface="System Font Regular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5354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2692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30029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7366" indent="-228669" algn="l" defTabSz="914674" rtl="0" eaLnBrk="1" latinLnBrk="0" hangingPunct="1">
        <a:spcBef>
          <a:spcPct val="20000"/>
        </a:spcBef>
        <a:buFont typeface="Arial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>
          <p15:clr>
            <a:srgbClr val="F26B43"/>
          </p15:clr>
        </p15:guide>
        <p15:guide id="4" pos="7347">
          <p15:clr>
            <a:srgbClr val="F26B43"/>
          </p15:clr>
        </p15:guide>
        <p15:guide id="5" orient="horz" pos="384">
          <p15:clr>
            <a:srgbClr val="F26B43"/>
          </p15:clr>
        </p15:guide>
        <p15:guide id="7" orient="horz" pos="984">
          <p15:clr>
            <a:srgbClr val="F26B43"/>
          </p15:clr>
        </p15:guide>
        <p15:guide id="8" pos="3936">
          <p15:clr>
            <a:srgbClr val="F26B43"/>
          </p15:clr>
        </p15:guide>
        <p15:guide id="9" pos="3768">
          <p15:clr>
            <a:srgbClr val="F26B43"/>
          </p15:clr>
        </p15:guide>
        <p15:guide id="10" orient="horz" pos="2496">
          <p15:clr>
            <a:srgbClr val="F26B43"/>
          </p15:clr>
        </p15:guide>
        <p15:guide id="11" orient="horz" pos="3816">
          <p15:clr>
            <a:srgbClr val="F26B43"/>
          </p15:clr>
        </p15:guide>
        <p15:guide id="12" orient="horz" pos="3672">
          <p15:clr>
            <a:srgbClr val="F26B43"/>
          </p15:clr>
        </p15:guide>
        <p15:guide id="13" pos="2544">
          <p15:clr>
            <a:srgbClr val="F26B43"/>
          </p15:clr>
        </p15:guide>
        <p15:guide id="14" pos="2736">
          <p15:clr>
            <a:srgbClr val="F26B43"/>
          </p15:clr>
        </p15:guide>
        <p15:guide id="15" pos="4944">
          <p15:clr>
            <a:srgbClr val="F26B43"/>
          </p15:clr>
        </p15:guide>
        <p15:guide id="16" pos="5136">
          <p15:clr>
            <a:srgbClr val="F26B43"/>
          </p15:clr>
        </p15:guide>
        <p15:guide id="18" orient="horz" pos="3864">
          <p15:clr>
            <a:srgbClr val="F26B43"/>
          </p15:clr>
        </p15:guide>
        <p15:guide id="19" orient="horz" pos="2328">
          <p15:clr>
            <a:srgbClr val="F26B43"/>
          </p15:clr>
        </p15:guide>
        <p15:guide id="20" orient="horz" pos="266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2" y="6203952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5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6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703633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  <p:sldLayoutId id="2147483866" r:id="rId40"/>
    <p:sldLayoutId id="2147483867" r:id="rId41"/>
    <p:sldLayoutId id="2147483868" r:id="rId42"/>
    <p:sldLayoutId id="2147483869" r:id="rId4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135731" indent="-135731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271463" indent="-135731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407194" indent="-135731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535781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7F7C15-002A-F090-A10B-BAB6936D9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038564-3296-9F80-C50F-ACB7BD2AC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951697-9E85-28E2-A1D6-9B6931A08C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D426124-F8B4-4E65-9E4E-0E2A6B135DDB}" type="datetimeFigureOut">
              <a:rPr lang="en-AU" smtClean="0"/>
              <a:t>31/03/2026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4525C-90FF-7C49-E1F9-F7A9FB35DC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9CB21-D472-93BD-9CB5-5224284991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1A09E0-3D20-4CBF-B3C6-CFDC012215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259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png"/><Relationship Id="rId4" Type="http://schemas.openxmlformats.org/officeDocument/2006/relationships/image" Target="../media/image44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chart" Target="../charts/chart4.xml"/><Relationship Id="rId7" Type="http://schemas.openxmlformats.org/officeDocument/2006/relationships/hyperlink" Target="https://www.unaids.org/en/resources/documents/2025/2025-global-aids-update" TargetMode="Externa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unaids.org/sites/default/files/media_asset/global-AIDS-strategy-2021-2026_en.pdf" TargetMode="External"/><Relationship Id="rId5" Type="http://schemas.openxmlformats.org/officeDocument/2006/relationships/hyperlink" Target="#_ednref1"/><Relationship Id="rId4" Type="http://schemas.openxmlformats.org/officeDocument/2006/relationships/hyperlink" Target="#_edn1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0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5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10" Type="http://schemas.openxmlformats.org/officeDocument/2006/relationships/image" Target="../media/image53.png"/><Relationship Id="rId4" Type="http://schemas.openxmlformats.org/officeDocument/2006/relationships/image" Target="../media/image48.png"/><Relationship Id="rId9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838A4-C1AC-8E4D-B4B0-A9C694280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02284" y="659935"/>
            <a:ext cx="5258067" cy="3413846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en-US" sz="5100" dirty="0">
                <a:solidFill>
                  <a:srgbClr val="009999"/>
                </a:solidFill>
                <a:latin typeface="Arial Nova Cond" panose="020B0506020202020204" pitchFamily="34" charset="0"/>
              </a:rPr>
              <a:t>HIV Prevention 2030. </a:t>
            </a:r>
            <a:br>
              <a:rPr lang="en-US" sz="4800" dirty="0">
                <a:solidFill>
                  <a:srgbClr val="009999"/>
                </a:solidFill>
                <a:latin typeface="Arial Nova Cond" panose="020B0506020202020204" pitchFamily="34" charset="0"/>
              </a:rPr>
            </a:br>
            <a:r>
              <a:rPr lang="en-ZA" sz="3600" dirty="0">
                <a:solidFill>
                  <a:srgbClr val="C00000"/>
                </a:solidFill>
                <a:latin typeface="Arial Nova Cond" panose="020B0506020202020204" pitchFamily="34" charset="0"/>
              </a:rPr>
              <a:t>A Global Access Framework for Country-Led Responses</a:t>
            </a:r>
            <a:endParaRPr lang="en-US" sz="4800" dirty="0">
              <a:solidFill>
                <a:srgbClr val="C0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16CE1B-0EF6-7CEF-D6D6-86E543560EAD}"/>
              </a:ext>
            </a:extLst>
          </p:cNvPr>
          <p:cNvSpPr/>
          <p:nvPr/>
        </p:nvSpPr>
        <p:spPr>
          <a:xfrm>
            <a:off x="6467321" y="4491142"/>
            <a:ext cx="5493030" cy="8626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4">
                    <a:lumMod val="75000"/>
                  </a:schemeClr>
                </a:solidFill>
              </a:rPr>
              <a:t>Dissemination webinar, 31 March 2026</a:t>
            </a:r>
            <a:endParaRPr lang="en-CH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19767B-32F7-FC52-C84C-348E7E6E62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9333" r="1727"/>
          <a:stretch>
            <a:fillRect/>
          </a:stretch>
        </p:blipFill>
        <p:spPr>
          <a:xfrm>
            <a:off x="-1" y="0"/>
            <a:ext cx="67184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826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5A0A24C-668E-A268-D48D-1B7444882E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83338"/>
              </p:ext>
            </p:extLst>
          </p:nvPr>
        </p:nvGraphicFramePr>
        <p:xfrm>
          <a:off x="1143000" y="491959"/>
          <a:ext cx="10792325" cy="6034414"/>
        </p:xfrm>
        <a:graphic>
          <a:graphicData uri="http://schemas.openxmlformats.org/drawingml/2006/table">
            <a:tbl>
              <a:tblPr firstRow="1" firstCol="1" bandRow="1"/>
              <a:tblGrid>
                <a:gridCol w="2346206">
                  <a:extLst>
                    <a:ext uri="{9D8B030D-6E8A-4147-A177-3AD203B41FA5}">
                      <a16:colId xmlns:a16="http://schemas.microsoft.com/office/drawing/2014/main" val="3632910376"/>
                    </a:ext>
                  </a:extLst>
                </a:gridCol>
                <a:gridCol w="1542710">
                  <a:extLst>
                    <a:ext uri="{9D8B030D-6E8A-4147-A177-3AD203B41FA5}">
                      <a16:colId xmlns:a16="http://schemas.microsoft.com/office/drawing/2014/main" val="2066881684"/>
                    </a:ext>
                  </a:extLst>
                </a:gridCol>
                <a:gridCol w="1144178">
                  <a:extLst>
                    <a:ext uri="{9D8B030D-6E8A-4147-A177-3AD203B41FA5}">
                      <a16:colId xmlns:a16="http://schemas.microsoft.com/office/drawing/2014/main" val="618141889"/>
                    </a:ext>
                  </a:extLst>
                </a:gridCol>
                <a:gridCol w="911662">
                  <a:extLst>
                    <a:ext uri="{9D8B030D-6E8A-4147-A177-3AD203B41FA5}">
                      <a16:colId xmlns:a16="http://schemas.microsoft.com/office/drawing/2014/main" val="715733388"/>
                    </a:ext>
                  </a:extLst>
                </a:gridCol>
                <a:gridCol w="1028474">
                  <a:extLst>
                    <a:ext uri="{9D8B030D-6E8A-4147-A177-3AD203B41FA5}">
                      <a16:colId xmlns:a16="http://schemas.microsoft.com/office/drawing/2014/main" val="1793827898"/>
                    </a:ext>
                  </a:extLst>
                </a:gridCol>
                <a:gridCol w="1247911">
                  <a:extLst>
                    <a:ext uri="{9D8B030D-6E8A-4147-A177-3AD203B41FA5}">
                      <a16:colId xmlns:a16="http://schemas.microsoft.com/office/drawing/2014/main" val="283744788"/>
                    </a:ext>
                  </a:extLst>
                </a:gridCol>
                <a:gridCol w="2571184">
                  <a:extLst>
                    <a:ext uri="{9D8B030D-6E8A-4147-A177-3AD203B41FA5}">
                      <a16:colId xmlns:a16="http://schemas.microsoft.com/office/drawing/2014/main" val="2011955288"/>
                    </a:ext>
                  </a:extLst>
                </a:gridCol>
              </a:tblGrid>
              <a:tr h="62581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4 (baseline)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6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7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8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29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30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126917"/>
                  </a:ext>
                </a:extLst>
              </a:tr>
              <a:tr h="44957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doms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2 million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6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4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2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5 million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819091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EP</a:t>
                      </a: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0 000 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7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965747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P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650185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VMMC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439823"/>
                  </a:ext>
                </a:extLst>
              </a:tr>
              <a:tr h="73240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omen  &amp; girls in locations with elevated HIV incidence (&gt;0.2%)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697756"/>
                  </a:ext>
                </a:extLst>
              </a:tr>
              <a:tr h="81260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en and boys in locations with elevated HIV incidence (&gt;0.2%)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5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 000</a:t>
                      </a:r>
                      <a:endParaRPr lang="en-CH" sz="2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479919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ex Workers reached 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3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5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5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0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5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5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5388342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SM reached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4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2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0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50 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 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71699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G people reached</a:t>
                      </a:r>
                      <a:endParaRPr lang="en-CH" sz="28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1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125828"/>
                  </a:ext>
                </a:extLst>
              </a:tr>
              <a:tr h="48439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WID reached with needles &amp; syringes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6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8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9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95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5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009900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WID receiving OAMT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1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4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defTabSz="914400" rtl="0" eaLnBrk="1" latinLnBrk="0" hangingPunct="1"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+mn-cs"/>
                        </a:rPr>
                        <a:t>48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427012"/>
                  </a:ext>
                </a:extLst>
              </a:tr>
              <a:tr h="36620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4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isoners reached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0</a:t>
                      </a:r>
                      <a:endParaRPr lang="en-CH" sz="2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2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3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5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6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defTabSz="914400" rtl="0" eaLnBrk="1" latinLnBrk="0" hangingPunct="1"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ZA" sz="14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+mn-cs"/>
                        </a:rPr>
                        <a:t>6000</a:t>
                      </a:r>
                      <a:endParaRPr lang="en-CH" sz="1400" kern="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0747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601D2E1-8428-D59C-9955-9C35FEA3D866}"/>
              </a:ext>
            </a:extLst>
          </p:cNvPr>
          <p:cNvSpPr txBox="1"/>
          <p:nvPr/>
        </p:nvSpPr>
        <p:spPr>
          <a:xfrm>
            <a:off x="69296" y="30294"/>
            <a:ext cx="11788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36A0A8"/>
                </a:solidFill>
              </a:rPr>
              <a:t>Illustrative country target table based on granular needs estimate</a:t>
            </a:r>
            <a:endParaRPr lang="en-CH" sz="2400" dirty="0">
              <a:solidFill>
                <a:srgbClr val="36A0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63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DC658-B432-28AD-F40B-365C73B92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258" y="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accent4">
                    <a:lumMod val="75000"/>
                  </a:schemeClr>
                </a:solidFill>
              </a:rPr>
              <a:t>Strategic shifts in the new framing of prevention</a:t>
            </a:r>
            <a:endParaRPr lang="en-CH" sz="40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B74D0F-509C-A9BB-589A-3595AE210FC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898"/>
          <a:stretch>
            <a:fillRect/>
          </a:stretch>
        </p:blipFill>
        <p:spPr>
          <a:xfrm>
            <a:off x="493318" y="1252729"/>
            <a:ext cx="11683878" cy="5605272"/>
          </a:xfrm>
          <a:prstGeom prst="rect">
            <a:avLst/>
          </a:prstGeom>
        </p:spPr>
      </p:pic>
      <p:pic>
        <p:nvPicPr>
          <p:cNvPr id="3" name="image1.png">
            <a:extLst>
              <a:ext uri="{FF2B5EF4-FFF2-40B4-BE49-F238E27FC236}">
                <a16:creationId xmlns:a16="http://schemas.microsoft.com/office/drawing/2014/main" id="{F969B872-9F87-8109-C8B4-134700587F80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749" y="6398119"/>
            <a:ext cx="747017" cy="369332"/>
          </a:xfrm>
          <a:prstGeom prst="rect">
            <a:avLst/>
          </a:prstGeom>
        </p:spPr>
      </p:pic>
      <p:pic>
        <p:nvPicPr>
          <p:cNvPr id="5" name="Picture 4" descr="A black and red letter a&#10;&#10;AI-generated content may be incorrect.">
            <a:extLst>
              <a:ext uri="{FF2B5EF4-FFF2-40B4-BE49-F238E27FC236}">
                <a16:creationId xmlns:a16="http://schemas.microsoft.com/office/drawing/2014/main" id="{5AFFAB5F-EE25-B99A-B37E-8151B3FB49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335" y="6474771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045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5AF9C1-584F-5E43-D221-59D6815A4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03200"/>
            <a:ext cx="3935184" cy="1549400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A person- </a:t>
            </a:r>
            <a:r>
              <a:rPr lang="en-US" sz="2400" b="1" dirty="0" err="1">
                <a:solidFill>
                  <a:schemeClr val="accent1"/>
                </a:solidFill>
              </a:rPr>
              <a:t>centred</a:t>
            </a:r>
            <a:br>
              <a:rPr lang="en-US" sz="2400" b="1" dirty="0">
                <a:solidFill>
                  <a:schemeClr val="accent1"/>
                </a:solidFill>
              </a:rPr>
            </a:br>
            <a:r>
              <a:rPr lang="en-US" sz="2400" b="1" dirty="0">
                <a:solidFill>
                  <a:schemeClr val="accent1"/>
                </a:solidFill>
              </a:rPr>
              <a:t>prevention framework</a:t>
            </a:r>
            <a:endParaRPr lang="en-CH" sz="2400" b="1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5CDBB2-7653-6787-5304-71A762BA9FE3}"/>
              </a:ext>
            </a:extLst>
          </p:cNvPr>
          <p:cNvSpPr txBox="1"/>
          <p:nvPr/>
        </p:nvSpPr>
        <p:spPr>
          <a:xfrm>
            <a:off x="35194" y="2556710"/>
            <a:ext cx="40142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But not everything for everyone</a:t>
            </a:r>
          </a:p>
          <a:p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Carefully chosen biomedical, behavioral,</a:t>
            </a:r>
          </a:p>
          <a:p>
            <a:r>
              <a:rPr lang="en-US" sz="1600" dirty="0">
                <a:solidFill>
                  <a:srgbClr val="C00000"/>
                </a:solidFill>
              </a:rPr>
              <a:t>structural elements</a:t>
            </a:r>
            <a:endParaRPr lang="en-CH" sz="1600" dirty="0">
              <a:solidFill>
                <a:srgbClr val="C00000"/>
              </a:solidFill>
            </a:endParaRPr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7638BD67-BA9E-2052-8419-3D9E50C920A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68" y="5832062"/>
            <a:ext cx="747017" cy="369332"/>
          </a:xfrm>
          <a:prstGeom prst="rect">
            <a:avLst/>
          </a:prstGeom>
        </p:spPr>
      </p:pic>
      <p:pic>
        <p:nvPicPr>
          <p:cNvPr id="6" name="Picture 5" descr="A black and red letter a&#10;&#10;AI-generated content may be incorrect.">
            <a:extLst>
              <a:ext uri="{FF2B5EF4-FFF2-40B4-BE49-F238E27FC236}">
                <a16:creationId xmlns:a16="http://schemas.microsoft.com/office/drawing/2014/main" id="{12E14980-9B29-9CD9-461D-44EB85BD9E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68" y="6438773"/>
            <a:ext cx="1152144" cy="2160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DD6886-0B53-128D-E373-DAC89353EA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114" y="0"/>
            <a:ext cx="7555686" cy="683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920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BAD16-63A3-255F-3488-7D78DE8B9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108" y="-216568"/>
            <a:ext cx="11828691" cy="1325563"/>
          </a:xfrm>
        </p:spPr>
        <p:txBody>
          <a:bodyPr>
            <a:normAutofit/>
          </a:bodyPr>
          <a:lstStyle/>
          <a:p>
            <a:r>
              <a:rPr lang="en-US" sz="2400">
                <a:solidFill>
                  <a:srgbClr val="00A99A"/>
                </a:solidFill>
                <a:latin typeface="+mn-lt"/>
              </a:rPr>
              <a:t>Scaled trusted access </a:t>
            </a:r>
            <a:r>
              <a:rPr lang="en-US" sz="2400" dirty="0">
                <a:solidFill>
                  <a:srgbClr val="00A99A"/>
                </a:solidFill>
                <a:latin typeface="+mn-lt"/>
              </a:rPr>
              <a:t>platforms</a:t>
            </a:r>
            <a:endParaRPr lang="en-CH" sz="2400" dirty="0">
              <a:solidFill>
                <a:srgbClr val="00A99A"/>
              </a:solidFill>
              <a:latin typeface="+mn-lt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DCBF3F4-0987-3D5C-F2A8-EB0A74B2B8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4884519"/>
              </p:ext>
            </p:extLst>
          </p:nvPr>
        </p:nvGraphicFramePr>
        <p:xfrm>
          <a:off x="6430486" y="3581117"/>
          <a:ext cx="5685312" cy="3094375"/>
        </p:xfrm>
        <a:graphic>
          <a:graphicData uri="http://schemas.openxmlformats.org/drawingml/2006/table">
            <a:tbl>
              <a:tblPr firstRow="1" bandRow="1"/>
              <a:tblGrid>
                <a:gridCol w="968564">
                  <a:extLst>
                    <a:ext uri="{9D8B030D-6E8A-4147-A177-3AD203B41FA5}">
                      <a16:colId xmlns:a16="http://schemas.microsoft.com/office/drawing/2014/main" val="3581667024"/>
                    </a:ext>
                  </a:extLst>
                </a:gridCol>
                <a:gridCol w="623592">
                  <a:extLst>
                    <a:ext uri="{9D8B030D-6E8A-4147-A177-3AD203B41FA5}">
                      <a16:colId xmlns:a16="http://schemas.microsoft.com/office/drawing/2014/main" val="2461992520"/>
                    </a:ext>
                  </a:extLst>
                </a:gridCol>
                <a:gridCol w="608403">
                  <a:extLst>
                    <a:ext uri="{9D8B030D-6E8A-4147-A177-3AD203B41FA5}">
                      <a16:colId xmlns:a16="http://schemas.microsoft.com/office/drawing/2014/main" val="2031551765"/>
                    </a:ext>
                  </a:extLst>
                </a:gridCol>
                <a:gridCol w="607282">
                  <a:extLst>
                    <a:ext uri="{9D8B030D-6E8A-4147-A177-3AD203B41FA5}">
                      <a16:colId xmlns:a16="http://schemas.microsoft.com/office/drawing/2014/main" val="1049846416"/>
                    </a:ext>
                  </a:extLst>
                </a:gridCol>
                <a:gridCol w="607282">
                  <a:extLst>
                    <a:ext uri="{9D8B030D-6E8A-4147-A177-3AD203B41FA5}">
                      <a16:colId xmlns:a16="http://schemas.microsoft.com/office/drawing/2014/main" val="4072324488"/>
                    </a:ext>
                  </a:extLst>
                </a:gridCol>
                <a:gridCol w="456022">
                  <a:extLst>
                    <a:ext uri="{9D8B030D-6E8A-4147-A177-3AD203B41FA5}">
                      <a16:colId xmlns:a16="http://schemas.microsoft.com/office/drawing/2014/main" val="1164879237"/>
                    </a:ext>
                  </a:extLst>
                </a:gridCol>
                <a:gridCol w="532212">
                  <a:extLst>
                    <a:ext uri="{9D8B030D-6E8A-4147-A177-3AD203B41FA5}">
                      <a16:colId xmlns:a16="http://schemas.microsoft.com/office/drawing/2014/main" val="1650899287"/>
                    </a:ext>
                  </a:extLst>
                </a:gridCol>
                <a:gridCol w="620728">
                  <a:extLst>
                    <a:ext uri="{9D8B030D-6E8A-4147-A177-3AD203B41FA5}">
                      <a16:colId xmlns:a16="http://schemas.microsoft.com/office/drawing/2014/main" val="2065707288"/>
                    </a:ext>
                  </a:extLst>
                </a:gridCol>
                <a:gridCol w="661227">
                  <a:extLst>
                    <a:ext uri="{9D8B030D-6E8A-4147-A177-3AD203B41FA5}">
                      <a16:colId xmlns:a16="http://schemas.microsoft.com/office/drawing/2014/main" val="410508090"/>
                    </a:ext>
                  </a:extLst>
                </a:gridCol>
              </a:tblGrid>
              <a:tr h="198775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u="none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ccess points</a:t>
                      </a:r>
                      <a:endParaRPr lang="en-CH" sz="1000" u="none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3149140"/>
                  </a:ext>
                </a:extLst>
              </a:tr>
              <a:tr h="56540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By intervention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ealth facilitie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mmunity -led and other outreach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harmacie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Key / higher risk locations  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Virtual space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ivate sector outlets 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Other government sector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spenser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932715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 dirty="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mmunications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522130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ndoms 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2419904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Oral PrEP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2222515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EP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0157784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eedles &amp; syringe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023329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y population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solidFill>
                            <a:srgbClr val="FFFFFF"/>
                          </a:solidFill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515744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omen &amp; Girl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80131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Men &amp; boy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9661452"/>
                  </a:ext>
                </a:extLst>
              </a:tr>
              <a:tr h="28270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ay men &amp; other MSM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5089649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Sex worker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639035"/>
                  </a:ext>
                </a:extLst>
              </a:tr>
              <a:tr h="141350"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ransgender people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4384"/>
                  </a:ext>
                </a:extLst>
              </a:tr>
              <a:tr h="282700">
                <a:tc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000" b="1" kern="10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eople who inject drugs</a:t>
                      </a:r>
                      <a:endParaRPr lang="en-CH" sz="1000" kern="10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CH" sz="1000" kern="100" dirty="0">
                        <a:effectLst/>
                        <a:latin typeface="Agency FB" panose="020B0503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 dirty="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CA" sz="1000" kern="100" dirty="0">
                          <a:effectLst/>
                          <a:latin typeface="Agency FB" panose="020B0503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CH" sz="1000" kern="100" dirty="0">
                        <a:effectLst/>
                        <a:latin typeface="Agency FB" panose="020B0503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51081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686262C-DFA5-5289-E75C-3C259D15CEFF}"/>
              </a:ext>
            </a:extLst>
          </p:cNvPr>
          <p:cNvSpPr txBox="1"/>
          <p:nvPr/>
        </p:nvSpPr>
        <p:spPr>
          <a:xfrm>
            <a:off x="7790447" y="1108995"/>
            <a:ext cx="40185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NEW</a:t>
            </a:r>
          </a:p>
          <a:p>
            <a:pPr marL="285750" indent="-285750">
              <a:buFontTx/>
              <a:buChar char="-"/>
            </a:pPr>
            <a:r>
              <a:rPr lang="en-US" dirty="0"/>
              <a:t>Systematically plan country access platforms for different prevention options and populations</a:t>
            </a:r>
          </a:p>
          <a:p>
            <a:pPr marL="285750" indent="-285750">
              <a:buFontTx/>
              <a:buChar char="-"/>
            </a:pPr>
            <a:r>
              <a:rPr lang="en-US" dirty="0"/>
              <a:t>Design with a view to enable self-care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2290ADE4-DB14-B793-B31D-E1FF0708DF2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08" y="6300148"/>
            <a:ext cx="747017" cy="369332"/>
          </a:xfrm>
          <a:prstGeom prst="rect">
            <a:avLst/>
          </a:prstGeom>
        </p:spPr>
      </p:pic>
      <p:pic>
        <p:nvPicPr>
          <p:cNvPr id="8" name="Picture 7" descr="A black and red letter a&#10;&#10;AI-generated content may be incorrect.">
            <a:extLst>
              <a:ext uri="{FF2B5EF4-FFF2-40B4-BE49-F238E27FC236}">
                <a16:creationId xmlns:a16="http://schemas.microsoft.com/office/drawing/2014/main" id="{287A1B1D-2620-D481-6048-CAF13427C7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720" y="6376800"/>
            <a:ext cx="1152144" cy="2160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ACA06A-F7B1-2F69-A88D-363C53C015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1" y="931722"/>
            <a:ext cx="6047482" cy="346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62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7C429-AA85-35AD-8777-3CCF94EF21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32D3126-99EB-071E-DF21-5E8CC922B66F}"/>
              </a:ext>
            </a:extLst>
          </p:cNvPr>
          <p:cNvSpPr txBox="1"/>
          <p:nvPr/>
        </p:nvSpPr>
        <p:spPr>
          <a:xfrm>
            <a:off x="3244885" y="4457312"/>
            <a:ext cx="853821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rgbClr val="FF6600"/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Fewer resources                                                                                                           More resources</a:t>
            </a:r>
            <a:endParaRPr sz="1400" b="1" dirty="0">
              <a:solidFill>
                <a:srgbClr val="FF6600"/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C5C6FD-2D3C-FD45-9352-DA5115E292C8}"/>
              </a:ext>
            </a:extLst>
          </p:cNvPr>
          <p:cNvSpPr txBox="1"/>
          <p:nvPr/>
        </p:nvSpPr>
        <p:spPr>
          <a:xfrm rot="16200000">
            <a:off x="10578852" y="1947763"/>
            <a:ext cx="243368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sz="1400" dirty="0">
                <a:solidFill>
                  <a:srgbClr val="009999"/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Service delivery approach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C3FCF3-551F-A95B-84EE-5C4BAB0010AF}"/>
              </a:ext>
            </a:extLst>
          </p:cNvPr>
          <p:cNvSpPr/>
          <p:nvPr/>
        </p:nvSpPr>
        <p:spPr>
          <a:xfrm>
            <a:off x="4900769" y="5928187"/>
            <a:ext cx="5309935" cy="3933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Community engagement</a:t>
            </a:r>
            <a:r>
              <a:rPr lang="en-US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, leadership</a:t>
            </a:r>
            <a:r>
              <a:rPr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and accountabili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CAC957-211C-F7C9-FF30-AD092C2880F2}"/>
              </a:ext>
            </a:extLst>
          </p:cNvPr>
          <p:cNvSpPr/>
          <p:nvPr/>
        </p:nvSpPr>
        <p:spPr>
          <a:xfrm>
            <a:off x="4900769" y="5501545"/>
            <a:ext cx="5309936" cy="3933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Actions to address human-rights &amp; gender related barriers and create an enabling policy environment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A5129C-D46C-DD77-65E7-E8F205E23CC8}"/>
              </a:ext>
            </a:extLst>
          </p:cNvPr>
          <p:cNvSpPr/>
          <p:nvPr/>
        </p:nvSpPr>
        <p:spPr>
          <a:xfrm>
            <a:off x="3311234" y="3746978"/>
            <a:ext cx="8322877" cy="37256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/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-competent </a:t>
            </a: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p</a:t>
            </a: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harmac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0AA5063-E6C7-3B3C-F877-0350464CB33B}"/>
              </a:ext>
            </a:extLst>
          </p:cNvPr>
          <p:cNvSpPr/>
          <p:nvPr/>
        </p:nvSpPr>
        <p:spPr>
          <a:xfrm>
            <a:off x="3311235" y="3342215"/>
            <a:ext cx="8322874" cy="37256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-competent health facilit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C6BDE2-1E56-DB69-85DF-5624693D4C92}"/>
              </a:ext>
            </a:extLst>
          </p:cNvPr>
          <p:cNvSpPr/>
          <p:nvPr/>
        </p:nvSpPr>
        <p:spPr>
          <a:xfrm>
            <a:off x="7660012" y="1687428"/>
            <a:ext cx="3956714" cy="3918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ther health facility-based modalities: Peer navigation, </a:t>
            </a:r>
            <a:b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</a:b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 rooms or days, sexual health clinic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EBE82-61B7-A288-F171-F15128E1A345}"/>
              </a:ext>
            </a:extLst>
          </p:cNvPr>
          <p:cNvSpPr/>
          <p:nvPr/>
        </p:nvSpPr>
        <p:spPr>
          <a:xfrm>
            <a:off x="3311234" y="2940103"/>
            <a:ext cx="8301086" cy="372568"/>
          </a:xfrm>
          <a:prstGeom prst="rect">
            <a:avLst/>
          </a:prstGeom>
          <a:solidFill>
            <a:srgbClr val="C9F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Peer-led outreach in virtual spac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8C08EA-6D6F-B436-5415-7A36C751B44A}"/>
              </a:ext>
            </a:extLst>
          </p:cNvPr>
          <p:cNvSpPr/>
          <p:nvPr/>
        </p:nvSpPr>
        <p:spPr>
          <a:xfrm>
            <a:off x="6467547" y="2101651"/>
            <a:ext cx="5152048" cy="391838"/>
          </a:xfrm>
          <a:prstGeom prst="rect">
            <a:avLst/>
          </a:prstGeom>
          <a:solidFill>
            <a:srgbClr val="C9F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Additional online services</a:t>
            </a: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</a:t>
            </a: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(e-pharmacy, counselling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665386-2EA0-4071-A68F-05AF678A4580}"/>
              </a:ext>
            </a:extLst>
          </p:cNvPr>
          <p:cNvSpPr/>
          <p:nvPr/>
        </p:nvSpPr>
        <p:spPr>
          <a:xfrm>
            <a:off x="5200221" y="2518891"/>
            <a:ext cx="6406836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Peer-led outreach in physical settings</a:t>
            </a: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 (differentiated based on need)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80EA54-F98F-4983-AA9D-2274DC9FDDEE}"/>
              </a:ext>
            </a:extLst>
          </p:cNvPr>
          <p:cNvSpPr/>
          <p:nvPr/>
        </p:nvSpPr>
        <p:spPr>
          <a:xfrm>
            <a:off x="8705081" y="856928"/>
            <a:ext cx="2893615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Drop-in </a:t>
            </a:r>
            <a:r>
              <a:rPr sz="11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centre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6ED6A7-B5D0-7845-76E4-B51D30B9E60C}"/>
              </a:ext>
            </a:extLst>
          </p:cNvPr>
          <p:cNvSpPr/>
          <p:nvPr/>
        </p:nvSpPr>
        <p:spPr>
          <a:xfrm>
            <a:off x="7655607" y="1274375"/>
            <a:ext cx="3956713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ther key venue presence: </a:t>
            </a:r>
            <a:b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</a:b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Vending machines, bars, kiosks, event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D54F9E-236A-724E-BE98-AD34AC3ACF15}"/>
              </a:ext>
            </a:extLst>
          </p:cNvPr>
          <p:cNvSpPr/>
          <p:nvPr/>
        </p:nvSpPr>
        <p:spPr>
          <a:xfrm>
            <a:off x="10233755" y="443400"/>
            <a:ext cx="1360106" cy="391838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Mobile clinic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5D79A4F-D481-C377-E773-3001D205AA85}"/>
              </a:ext>
            </a:extLst>
          </p:cNvPr>
          <p:cNvCxnSpPr>
            <a:cxnSpLocks/>
          </p:cNvCxnSpPr>
          <p:nvPr/>
        </p:nvCxnSpPr>
        <p:spPr>
          <a:xfrm>
            <a:off x="3227343" y="4432148"/>
            <a:ext cx="8469630" cy="0"/>
          </a:xfrm>
          <a:prstGeom prst="straightConnector1">
            <a:avLst/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55F03AD-0BA8-EE20-7C1E-6ECE6EE2D346}"/>
              </a:ext>
            </a:extLst>
          </p:cNvPr>
          <p:cNvSpPr/>
          <p:nvPr/>
        </p:nvSpPr>
        <p:spPr>
          <a:xfrm>
            <a:off x="10238591" y="30496"/>
            <a:ext cx="1360105" cy="3918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Dedicated </a:t>
            </a:r>
            <a:b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</a:br>
            <a:r>
              <a:rPr 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KP clinic sites</a:t>
            </a:r>
            <a:endParaRPr sz="1100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07993A-4F69-AE75-3973-11E7D06876E0}"/>
              </a:ext>
            </a:extLst>
          </p:cNvPr>
          <p:cNvSpPr/>
          <p:nvPr/>
        </p:nvSpPr>
        <p:spPr>
          <a:xfrm>
            <a:off x="3132695" y="2104924"/>
            <a:ext cx="622093" cy="143567"/>
          </a:xfrm>
          <a:prstGeom prst="rect">
            <a:avLst/>
          </a:prstGeom>
          <a:solidFill>
            <a:srgbClr val="C9F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825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nline</a:t>
            </a:r>
            <a:endParaRPr sz="825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1F39BF-C75A-385A-07DA-392BF3F7E061}"/>
              </a:ext>
            </a:extLst>
          </p:cNvPr>
          <p:cNvSpPr/>
          <p:nvPr/>
        </p:nvSpPr>
        <p:spPr>
          <a:xfrm>
            <a:off x="3132695" y="1752299"/>
            <a:ext cx="622093" cy="143567"/>
          </a:xfrm>
          <a:prstGeom prst="rect">
            <a:avLst/>
          </a:prstGeom>
          <a:solidFill>
            <a:srgbClr val="CCFF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825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Clinics</a:t>
            </a:r>
            <a:endParaRPr sz="825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DD34295-358A-9C43-3FC3-6A2987216E61}"/>
              </a:ext>
            </a:extLst>
          </p:cNvPr>
          <p:cNvSpPr/>
          <p:nvPr/>
        </p:nvSpPr>
        <p:spPr>
          <a:xfrm>
            <a:off x="3132694" y="1935555"/>
            <a:ext cx="622093" cy="143567"/>
          </a:xfrm>
          <a:prstGeom prst="rect">
            <a:avLst/>
          </a:prstGeom>
          <a:solidFill>
            <a:srgbClr val="81E1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50" tIns="19050" rIns="19050" bIns="19050" rtlCol="0" anchor="ctr"/>
          <a:lstStyle/>
          <a:p>
            <a:pPr algn="ctr" defTabSz="685800">
              <a:defRPr sz="1200" b="1">
                <a:solidFill>
                  <a:srgbClr val="FFFFFF"/>
                </a:solidFill>
              </a:defRPr>
            </a:pPr>
            <a:r>
              <a:rPr lang="en-US" sz="825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Outreach</a:t>
            </a:r>
            <a:endParaRPr sz="825" b="1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BA0127F1-5624-6CD6-1095-03EA34783603}"/>
              </a:ext>
            </a:extLst>
          </p:cNvPr>
          <p:cNvSpPr/>
          <p:nvPr/>
        </p:nvSpPr>
        <p:spPr>
          <a:xfrm rot="9688276" flipH="1">
            <a:off x="-2331401" y="817827"/>
            <a:ext cx="10588077" cy="2065494"/>
          </a:xfrm>
          <a:prstGeom prst="arc">
            <a:avLst/>
          </a:prstGeom>
          <a:ln w="76200">
            <a:solidFill>
              <a:srgbClr val="0099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/>
            <a:endParaRPr lang="en-CH" sz="1350">
              <a:solidFill>
                <a:prstClr val="black"/>
              </a:solidFill>
              <a:latin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B170D2C-9EB1-2640-D912-57B520262728}"/>
              </a:ext>
            </a:extLst>
          </p:cNvPr>
          <p:cNvSpPr txBox="1"/>
          <p:nvPr/>
        </p:nvSpPr>
        <p:spPr>
          <a:xfrm rot="20131491">
            <a:off x="5714851" y="1435084"/>
            <a:ext cx="55784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US" sz="1350" b="1" dirty="0">
                <a:solidFill>
                  <a:srgbClr val="009999"/>
                </a:solidFill>
                <a:latin typeface="Arial"/>
              </a:rPr>
              <a:t>Add …</a:t>
            </a:r>
            <a:endParaRPr lang="en-CH" sz="1350" b="1" dirty="0">
              <a:solidFill>
                <a:srgbClr val="009999"/>
              </a:solidFill>
              <a:latin typeface="Arial"/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B2EBED96-6393-D0DC-D877-5166F32AEC27}"/>
              </a:ext>
            </a:extLst>
          </p:cNvPr>
          <p:cNvCxnSpPr>
            <a:cxnSpLocks/>
          </p:cNvCxnSpPr>
          <p:nvPr/>
        </p:nvCxnSpPr>
        <p:spPr>
          <a:xfrm>
            <a:off x="3227343" y="4944965"/>
            <a:ext cx="8469630" cy="0"/>
          </a:xfrm>
          <a:prstGeom prst="straightConnector1">
            <a:avLst/>
          </a:prstGeom>
          <a:ln w="76200">
            <a:solidFill>
              <a:schemeClr val="accent4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8F68084-D4D3-1872-520D-1F8011D7063F}"/>
              </a:ext>
            </a:extLst>
          </p:cNvPr>
          <p:cNvSpPr txBox="1"/>
          <p:nvPr/>
        </p:nvSpPr>
        <p:spPr>
          <a:xfrm>
            <a:off x="3244885" y="5003187"/>
            <a:ext cx="853821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rgbClr val="44CC36">
                    <a:lumMod val="75000"/>
                  </a:srgbClr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Lower HIV incidence                                                                                            Higher HIV incidence</a:t>
            </a:r>
            <a:endParaRPr sz="1400" b="1" dirty="0">
              <a:solidFill>
                <a:srgbClr val="44CC36">
                  <a:lumMod val="75000"/>
                </a:srgbClr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AF366AF-B287-B6F2-550A-0F6831165F19}"/>
              </a:ext>
            </a:extLst>
          </p:cNvPr>
          <p:cNvSpPr txBox="1"/>
          <p:nvPr/>
        </p:nvSpPr>
        <p:spPr>
          <a:xfrm>
            <a:off x="4417348" y="6427591"/>
            <a:ext cx="61106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457200"/>
            <a:r>
              <a:rPr lang="en-US" sz="900" i="1" dirty="0">
                <a:solidFill>
                  <a:prstClr val="white">
                    <a:lumMod val="50000"/>
                  </a:prstClr>
                </a:solidFill>
                <a:latin typeface="Arial"/>
              </a:rPr>
              <a:t>Enablers are a foundation that entail some actions that do not require extensive resources and others that do. </a:t>
            </a:r>
            <a:br>
              <a:rPr lang="en-US" sz="900" i="1" dirty="0">
                <a:solidFill>
                  <a:prstClr val="white">
                    <a:lumMod val="50000"/>
                  </a:prstClr>
                </a:solidFill>
                <a:latin typeface="Arial"/>
              </a:rPr>
            </a:br>
            <a:r>
              <a:rPr lang="en-US" sz="900" i="1" dirty="0">
                <a:solidFill>
                  <a:prstClr val="white">
                    <a:lumMod val="50000"/>
                  </a:prstClr>
                </a:solidFill>
                <a:latin typeface="Arial"/>
              </a:rPr>
              <a:t>The specific needs should be considered based on the country’s legal and policy environment and resource availability .</a:t>
            </a:r>
            <a:endParaRPr lang="en-CH" sz="900" i="1" dirty="0">
              <a:solidFill>
                <a:prstClr val="white">
                  <a:lumMod val="50000"/>
                </a:prstClr>
              </a:solidFill>
              <a:latin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3F1D18-75A8-AA02-E6E3-E01D7F8E9612}"/>
              </a:ext>
            </a:extLst>
          </p:cNvPr>
          <p:cNvSpPr txBox="1"/>
          <p:nvPr/>
        </p:nvSpPr>
        <p:spPr>
          <a:xfrm rot="16200000">
            <a:off x="11223927" y="5860526"/>
            <a:ext cx="946093" cy="32316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defTabSz="685800">
              <a:defRPr sz="1200" b="0">
                <a:solidFill>
                  <a:srgbClr val="000000"/>
                </a:solidFill>
              </a:defRPr>
            </a:pPr>
            <a:r>
              <a:rPr lang="en-US" sz="1500" dirty="0">
                <a:solidFill>
                  <a:srgbClr val="C00000"/>
                </a:solidFill>
                <a:latin typeface="Arial"/>
                <a:ea typeface="Calibri" panose="020F0502020204030204" pitchFamily="34" charset="0"/>
                <a:cs typeface="DokChampa" panose="020B0502040204020203" pitchFamily="34" charset="-34"/>
              </a:rPr>
              <a:t>Enablers</a:t>
            </a:r>
            <a:endParaRPr sz="1500" dirty="0">
              <a:solidFill>
                <a:srgbClr val="C00000"/>
              </a:solidFill>
              <a:latin typeface="Arial"/>
              <a:ea typeface="Calibri" panose="020F0502020204030204" pitchFamily="34" charset="0"/>
              <a:cs typeface="DokChampa" panose="020B0502040204020203" pitchFamily="34" charset="-3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BA07DC-BA30-AAD9-797E-7CA9B7295820}"/>
              </a:ext>
            </a:extLst>
          </p:cNvPr>
          <p:cNvSpPr txBox="1"/>
          <p:nvPr/>
        </p:nvSpPr>
        <p:spPr>
          <a:xfrm>
            <a:off x="313307" y="3309974"/>
            <a:ext cx="137439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i="1" dirty="0">
                <a:solidFill>
                  <a:srgbClr val="C00000"/>
                </a:solidFill>
              </a:rPr>
              <a:t>Updated detailed </a:t>
            </a:r>
            <a:br>
              <a:rPr lang="en-US" sz="1600" i="1" dirty="0">
                <a:solidFill>
                  <a:srgbClr val="C00000"/>
                </a:solidFill>
              </a:rPr>
            </a:br>
            <a:r>
              <a:rPr lang="en-US" sz="1600" i="1" dirty="0">
                <a:solidFill>
                  <a:srgbClr val="C00000"/>
                </a:solidFill>
              </a:rPr>
              <a:t>planning guide available</a:t>
            </a:r>
            <a:endParaRPr lang="en-CH" sz="1600" i="1" dirty="0">
              <a:solidFill>
                <a:srgbClr val="C00000"/>
              </a:solidFill>
            </a:endParaRPr>
          </a:p>
        </p:txBody>
      </p:sp>
      <p:pic>
        <p:nvPicPr>
          <p:cNvPr id="3074" name="Picture 2" descr="PLANNING AND MANAGING HIV PROGRAMMES WITH KEY POPULATIONS">
            <a:extLst>
              <a:ext uri="{FF2B5EF4-FFF2-40B4-BE49-F238E27FC236}">
                <a16:creationId xmlns:a16="http://schemas.microsoft.com/office/drawing/2014/main" id="{BAB05FCF-BFA7-8DFF-C0DE-94B757446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27" y="4611200"/>
            <a:ext cx="1442274" cy="2035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6D92FAA-369A-DC45-F5ED-8ED10407A3E2}"/>
              </a:ext>
            </a:extLst>
          </p:cNvPr>
          <p:cNvSpPr txBox="1"/>
          <p:nvPr/>
        </p:nvSpPr>
        <p:spPr>
          <a:xfrm>
            <a:off x="330040" y="329270"/>
            <a:ext cx="185168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i="1" dirty="0">
                <a:solidFill>
                  <a:srgbClr val="C00000"/>
                </a:solidFill>
              </a:rPr>
              <a:t>Example: Prioritizing access platforms for key populations</a:t>
            </a:r>
            <a:endParaRPr lang="en-CH" sz="1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797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F30C50C-75C9-7AC1-6AB8-390523E43911}"/>
              </a:ext>
            </a:extLst>
          </p:cNvPr>
          <p:cNvSpPr txBox="1"/>
          <p:nvPr/>
        </p:nvSpPr>
        <p:spPr>
          <a:xfrm>
            <a:off x="114212" y="327923"/>
            <a:ext cx="208155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4">
                    <a:lumMod val="75000"/>
                  </a:schemeClr>
                </a:solidFill>
              </a:rPr>
              <a:t>Multi-sector stewardship of HIV prevention: Key functions of national coordinating / lead agencies</a:t>
            </a:r>
            <a:endParaRPr lang="en-CH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BB047D5-8AE1-E1A2-E23C-987371B4CEDB}"/>
              </a:ext>
            </a:extLst>
          </p:cNvPr>
          <p:cNvGrpSpPr/>
          <p:nvPr/>
        </p:nvGrpSpPr>
        <p:grpSpPr>
          <a:xfrm>
            <a:off x="2195764" y="205975"/>
            <a:ext cx="9612962" cy="6041317"/>
            <a:chOff x="1250980" y="527163"/>
            <a:chExt cx="9612962" cy="60413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D681670-9F2C-3A4B-48FC-822117BE15ED}"/>
                </a:ext>
              </a:extLst>
            </p:cNvPr>
            <p:cNvSpPr/>
            <p:nvPr/>
          </p:nvSpPr>
          <p:spPr>
            <a:xfrm>
              <a:off x="4065232" y="1284161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8" tIns="42647" rIns="289399" bIns="42646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77DC554-0CA0-DF4C-4B28-AADBB169A0EC}"/>
                </a:ext>
              </a:extLst>
            </p:cNvPr>
            <p:cNvSpPr/>
            <p:nvPr/>
          </p:nvSpPr>
          <p:spPr>
            <a:xfrm>
              <a:off x="4680810" y="527163"/>
              <a:ext cx="2750611" cy="1819514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ysis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yse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he HIV epidemic &amp; prevention response, determine the  gaps and nee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367F7E9-9FBF-5BDD-4318-6735F0DA7F60}"/>
                </a:ext>
              </a:extLst>
            </p:cNvPr>
            <p:cNvSpPr/>
            <p:nvPr/>
          </p:nvSpPr>
          <p:spPr>
            <a:xfrm>
              <a:off x="7352720" y="1284161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9" tIns="42647" rIns="289398" bIns="42646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267DA20-3C99-F852-81EA-F251111C91D6}"/>
                </a:ext>
              </a:extLst>
            </p:cNvPr>
            <p:cNvSpPr/>
            <p:nvPr/>
          </p:nvSpPr>
          <p:spPr>
            <a:xfrm>
              <a:off x="7936851" y="527163"/>
              <a:ext cx="2927089" cy="1817717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y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e an evidence-based strategy, set targets and multisectoral action areas for programmes, and address policy &amp; legal barriers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AD0208-71E1-0A2E-5E11-C2E42EC3698C}"/>
                </a:ext>
              </a:extLst>
            </p:cNvPr>
            <p:cNvSpPr/>
            <p:nvPr/>
          </p:nvSpPr>
          <p:spPr>
            <a:xfrm>
              <a:off x="2730655" y="2129908"/>
              <a:ext cx="6574976" cy="584133"/>
            </a:xfrm>
            <a:custGeom>
              <a:avLst/>
              <a:gdLst>
                <a:gd name="connsiteX0" fmla="*/ 6574976 w 6574976"/>
                <a:gd name="connsiteY0" fmla="*/ 0 h 584133"/>
                <a:gd name="connsiteX1" fmla="*/ 6574976 w 6574976"/>
                <a:gd name="connsiteY1" fmla="*/ 309166 h 584133"/>
                <a:gd name="connsiteX2" fmla="*/ 0 w 6574976"/>
                <a:gd name="connsiteY2" fmla="*/ 309166 h 584133"/>
                <a:gd name="connsiteX3" fmla="*/ 0 w 6574976"/>
                <a:gd name="connsiteY3" fmla="*/ 584133 h 58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74976" h="584133">
                  <a:moveTo>
                    <a:pt x="6574976" y="0"/>
                  </a:moveTo>
                  <a:lnTo>
                    <a:pt x="6574976" y="309166"/>
                  </a:lnTo>
                  <a:lnTo>
                    <a:pt x="0" y="309166"/>
                  </a:lnTo>
                  <a:lnTo>
                    <a:pt x="0" y="584133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3135097" tIns="288993" rIns="3135097" bIns="288993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8C88E88-96A8-C656-577C-19D97A8742FF}"/>
                </a:ext>
              </a:extLst>
            </p:cNvPr>
            <p:cNvSpPr/>
            <p:nvPr/>
          </p:nvSpPr>
          <p:spPr>
            <a:xfrm>
              <a:off x="1317115" y="2770548"/>
              <a:ext cx="2780439" cy="1702051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ources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e resource needs &amp; gaps and mobilize resources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D70ECFC-8FD5-F2FE-D877-25E01AA20BC5}"/>
                </a:ext>
              </a:extLst>
            </p:cNvPr>
            <p:cNvSpPr/>
            <p:nvPr/>
          </p:nvSpPr>
          <p:spPr>
            <a:xfrm>
              <a:off x="4065232" y="3502548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8" tIns="42646" rIns="289399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B6FD754-A8BA-4C3B-FC67-AE1D063E66BA}"/>
                </a:ext>
              </a:extLst>
            </p:cNvPr>
            <p:cNvSpPr/>
            <p:nvPr/>
          </p:nvSpPr>
          <p:spPr>
            <a:xfrm>
              <a:off x="1250980" y="527163"/>
              <a:ext cx="2845697" cy="1819514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dership &amp; coordination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ablish political leadership and responsibility for stewardship of the multi-sectoral HIV prevention response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A2CF2BB-A9EA-4BB3-48ED-E653D8AEACD7}"/>
                </a:ext>
              </a:extLst>
            </p:cNvPr>
            <p:cNvSpPr/>
            <p:nvPr/>
          </p:nvSpPr>
          <p:spPr>
            <a:xfrm>
              <a:off x="7352720" y="3502548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9" tIns="42646" rIns="289398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181F4CE-C7E9-ED47-99AE-C921E21055E4}"/>
                </a:ext>
              </a:extLst>
            </p:cNvPr>
            <p:cNvSpPr/>
            <p:nvPr/>
          </p:nvSpPr>
          <p:spPr>
            <a:xfrm>
              <a:off x="4681766" y="2746441"/>
              <a:ext cx="2672754" cy="1726159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munications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pularize the urgency of HIV prevention and coordinate communications</a:t>
              </a: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346CFE9-6353-C14A-24DE-3D51C9B45CAF}"/>
                </a:ext>
              </a:extLst>
            </p:cNvPr>
            <p:cNvSpPr/>
            <p:nvPr/>
          </p:nvSpPr>
          <p:spPr>
            <a:xfrm>
              <a:off x="2730655" y="4348294"/>
              <a:ext cx="6574976" cy="584133"/>
            </a:xfrm>
            <a:custGeom>
              <a:avLst/>
              <a:gdLst>
                <a:gd name="connsiteX0" fmla="*/ 6574976 w 6574976"/>
                <a:gd name="connsiteY0" fmla="*/ 0 h 584133"/>
                <a:gd name="connsiteX1" fmla="*/ 6574976 w 6574976"/>
                <a:gd name="connsiteY1" fmla="*/ 309166 h 584133"/>
                <a:gd name="connsiteX2" fmla="*/ 0 w 6574976"/>
                <a:gd name="connsiteY2" fmla="*/ 309166 h 584133"/>
                <a:gd name="connsiteX3" fmla="*/ 0 w 6574976"/>
                <a:gd name="connsiteY3" fmla="*/ 584133 h 58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74976" h="584133">
                  <a:moveTo>
                    <a:pt x="6574976" y="0"/>
                  </a:moveTo>
                  <a:lnTo>
                    <a:pt x="6574976" y="309166"/>
                  </a:lnTo>
                  <a:lnTo>
                    <a:pt x="0" y="309166"/>
                  </a:lnTo>
                  <a:lnTo>
                    <a:pt x="0" y="584133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3135097" tIns="288994" rIns="3135097" bIns="288992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DD8A1A0-33A5-892F-C39E-38AE93DBEABB}"/>
                </a:ext>
              </a:extLst>
            </p:cNvPr>
            <p:cNvSpPr/>
            <p:nvPr/>
          </p:nvSpPr>
          <p:spPr>
            <a:xfrm>
              <a:off x="7969254" y="2746442"/>
              <a:ext cx="2894688" cy="1726160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stem design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e a sustainable national prevention delivery system, identify strategic actors and their roles (across all partners and funding streams)</a:t>
              </a: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A593152-9C1D-3F6C-8733-FA46E1B8A420}"/>
                </a:ext>
              </a:extLst>
            </p:cNvPr>
            <p:cNvSpPr/>
            <p:nvPr/>
          </p:nvSpPr>
          <p:spPr>
            <a:xfrm>
              <a:off x="4065232" y="5720935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8" tIns="42646" rIns="289399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97AA0C7-265E-F5DC-5129-6C026F0F9C30}"/>
                </a:ext>
              </a:extLst>
            </p:cNvPr>
            <p:cNvSpPr/>
            <p:nvPr/>
          </p:nvSpPr>
          <p:spPr>
            <a:xfrm>
              <a:off x="1317115" y="4964828"/>
              <a:ext cx="2749916" cy="1603652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lementation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rive and facilitate effective management of implementation at scale</a:t>
              </a: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AEBBBDF-E4C1-1EE3-9FB8-380270363ED5}"/>
                </a:ext>
              </a:extLst>
            </p:cNvPr>
            <p:cNvSpPr/>
            <p:nvPr/>
          </p:nvSpPr>
          <p:spPr>
            <a:xfrm>
              <a:off x="7352720" y="5720935"/>
              <a:ext cx="584133" cy="91440"/>
            </a:xfrm>
            <a:custGeom>
              <a:avLst/>
              <a:gdLst>
                <a:gd name="connsiteX0" fmla="*/ 0 w 584133"/>
                <a:gd name="connsiteY0" fmla="*/ 45720 h 91440"/>
                <a:gd name="connsiteX1" fmla="*/ 584133 w 584133"/>
                <a:gd name="connsiteY1" fmla="*/ 4572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33" h="91440">
                  <a:moveTo>
                    <a:pt x="0" y="45720"/>
                  </a:moveTo>
                  <a:lnTo>
                    <a:pt x="584133" y="45720"/>
                  </a:lnTo>
                </a:path>
              </a:pathLst>
            </a:custGeom>
            <a:noFill/>
            <a:ln w="28575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spcFirstLastPara="0" vert="horz" wrap="square" lIns="289399" tIns="42646" rIns="289398" bIns="42647" numCol="1" spcCol="1270" anchor="ctr" anchorCtr="0">
              <a:noAutofit/>
            </a:bodyPr>
            <a:lstStyle/>
            <a:p>
              <a:pPr marL="0" marR="0" lvl="0" indent="0" algn="ctr" defTabSz="2222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486FB33-BE15-67F7-F600-4CF64FD333EF}"/>
                </a:ext>
              </a:extLst>
            </p:cNvPr>
            <p:cNvSpPr/>
            <p:nvPr/>
          </p:nvSpPr>
          <p:spPr>
            <a:xfrm>
              <a:off x="4681766" y="4964828"/>
              <a:ext cx="2672754" cy="1603652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nitoring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nitor &amp; evaluate and use learnings for problem-solving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32DEAD0-EFEE-64B7-F500-96965B5E8309}"/>
                </a:ext>
              </a:extLst>
            </p:cNvPr>
            <p:cNvSpPr/>
            <p:nvPr/>
          </p:nvSpPr>
          <p:spPr>
            <a:xfrm>
              <a:off x="7969253" y="4964828"/>
              <a:ext cx="2894687" cy="1603652"/>
            </a:xfrm>
            <a:prstGeom prst="roundRect">
              <a:avLst/>
            </a:prstGeom>
            <a:solidFill>
              <a:srgbClr val="00999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113792" tIns="113792" rIns="113792" bIns="113792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countability</a:t>
              </a:r>
            </a:p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ablish and monitor joint accounta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8106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7D69BE-5ED4-38FF-B869-A00DDE149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35" y="192505"/>
            <a:ext cx="11734800" cy="896353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rgbClr val="00A99A"/>
                </a:solidFill>
              </a:rPr>
              <a:t>Scalable and sustainable prevention to 2030 and beyond. </a:t>
            </a:r>
            <a:r>
              <a:rPr lang="en-US" sz="2800" dirty="0">
                <a:solidFill>
                  <a:srgbClr val="C00000"/>
                </a:solidFill>
              </a:rPr>
              <a:t>5 Ps of prioritization</a:t>
            </a:r>
            <a:br>
              <a:rPr lang="en-US" sz="2800" dirty="0">
                <a:solidFill>
                  <a:srgbClr val="00A99A"/>
                </a:solidFill>
              </a:rPr>
            </a:b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The right people, right places, packages, best platforms, prices</a:t>
            </a:r>
            <a:endParaRPr lang="en-CH" sz="28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3" name="image1.png">
            <a:extLst>
              <a:ext uri="{FF2B5EF4-FFF2-40B4-BE49-F238E27FC236}">
                <a16:creationId xmlns:a16="http://schemas.microsoft.com/office/drawing/2014/main" id="{82445E75-3FA1-6723-F230-39E6DDDC5CA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771" y="6248400"/>
            <a:ext cx="994083" cy="4951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D708A8-0344-2ED1-412A-F5D2663205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8858"/>
            <a:ext cx="9223683" cy="575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4522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CFCB6-C9A2-0635-5C5C-C56625910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343" y="291973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Rationale for prevention targets – and how they relate to HIV incidence</a:t>
            </a:r>
            <a:endParaRPr lang="en-CH" sz="3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7F214B-1331-2C79-521C-1FC7FD7096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343" y="1453771"/>
            <a:ext cx="11034200" cy="530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119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A5BF6-9FF9-9E23-BBBF-BEA3E3E15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713" y="109633"/>
            <a:ext cx="10515600" cy="783828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00A99A"/>
                </a:solidFill>
              </a:rPr>
              <a:t>A new financing context </a:t>
            </a:r>
            <a:endParaRPr lang="en-CH" sz="3600" dirty="0">
              <a:solidFill>
                <a:srgbClr val="00A99A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FC62288-C085-AE1C-B7CA-A31B9A7EAC6D}"/>
              </a:ext>
            </a:extLst>
          </p:cNvPr>
          <p:cNvGraphicFramePr/>
          <p:nvPr/>
        </p:nvGraphicFramePr>
        <p:xfrm>
          <a:off x="5951918" y="737732"/>
          <a:ext cx="2908300" cy="2837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CEFA6C0-6EE9-E838-CB1D-1B040EDFF43F}"/>
              </a:ext>
            </a:extLst>
          </p:cNvPr>
          <p:cNvGraphicFramePr/>
          <p:nvPr/>
        </p:nvGraphicFramePr>
        <p:xfrm>
          <a:off x="8860218" y="670066"/>
          <a:ext cx="3298682" cy="2978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7">
            <a:extLst>
              <a:ext uri="{FF2B5EF4-FFF2-40B4-BE49-F238E27FC236}">
                <a16:creationId xmlns:a16="http://schemas.microsoft.com/office/drawing/2014/main" id="{6AA952A9-06F7-206C-FCB7-FBCCD19BEA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06293" y="1898676"/>
            <a:ext cx="849313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CH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 Need: </a:t>
            </a:r>
            <a:endParaRPr kumimoji="0" lang="en-US" altLang="en-CH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CH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S$ 21.9 billion</a:t>
            </a:r>
            <a:endParaRPr kumimoji="0" lang="en-US" altLang="en-CH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75FE6431-4C13-3BC5-E968-2FD4814CF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1412" y="1782167"/>
            <a:ext cx="849312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CH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 Need:</a:t>
            </a:r>
            <a:r>
              <a:rPr kumimoji="0" lang="en-US" altLang="en-CH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US$ 29.3 billion</a:t>
            </a:r>
            <a:endParaRPr kumimoji="0" lang="en-US" altLang="en-CH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C587DEB4-38FA-06A1-09CC-03AA4F8461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1918" y="97152"/>
            <a:ext cx="600163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CH" b="1" i="0" u="none" strike="noStrike" cap="none" normalizeH="0" baseline="0" dirty="0">
                <a:ln>
                  <a:noFill/>
                </a:ln>
                <a:solidFill>
                  <a:srgbClr val="1F699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IGURE 10. </a:t>
            </a:r>
            <a:r>
              <a:rPr kumimoji="0" lang="en-ZA" altLang="en-CH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djusted Resource Needs Estimates for HIV Prevention, 2025 vs 2030 </a:t>
            </a:r>
            <a:r>
              <a:rPr kumimoji="0" lang="en-ZA" altLang="en-CH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kumimoji="0" lang="en-ZA" altLang="en-CH" b="1" i="1" u="sng" strike="noStrike" cap="none" normalizeH="0" baseline="30000" dirty="0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[</a:t>
            </a:r>
            <a:r>
              <a:rPr kumimoji="0" lang="en-ZA" altLang="en-CH" b="1" i="1" u="sng" strike="noStrike" cap="none" normalizeH="0" baseline="30000" dirty="0" err="1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i</a:t>
            </a:r>
            <a:r>
              <a:rPr kumimoji="0" lang="en-ZA" altLang="en-CH" b="1" i="1" u="sng" strike="noStrike" cap="none" normalizeH="0" baseline="30000" dirty="0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]</a:t>
            </a:r>
            <a:r>
              <a:rPr kumimoji="0" lang="en-ZA" altLang="en-CH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kumimoji="0" lang="en-ZA" altLang="en-CH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F2447A-4F42-A91B-7A10-17044BFE4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CH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20F552-EFAC-DDDA-D83D-7179B38E26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2099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altLang="en-CH" sz="1000" b="0" i="0" u="none" strike="noStrike" cap="none" normalizeH="0" baseline="0">
              <a:ln>
                <a:noFill/>
              </a:ln>
              <a:solidFill>
                <a:srgbClr val="1F1F1F"/>
              </a:solidFill>
              <a:effectLst/>
              <a:latin typeface="Georgia" panose="02040502050405020303" pitchFamily="18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CH" sz="1000" b="0" i="0" u="none" strike="noStrike" cap="none" normalizeH="0" baseline="0">
                <a:ln>
                  <a:noFill/>
                </a:ln>
                <a:solidFill>
                  <a:srgbClr val="1F1F1F"/>
                </a:solidFill>
                <a:effectLst/>
                <a:latin typeface="Georgia" panose="02040502050405020303" pitchFamily="18" charset="0"/>
                <a:ea typeface="Times New Roman" panose="02020603050405020304" pitchFamily="18" charset="0"/>
              </a:rPr>
              <a:t>        </a:t>
            </a:r>
            <a:endParaRPr kumimoji="0" lang="en-ZA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EDF04B-336D-1AAC-1EEA-BE4185D5F0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96265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CH" altLang="en-CH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en-CH" altLang="en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3E3F4B-09F2-DA07-6623-7C19792FA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09" y="6286702"/>
            <a:ext cx="562356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CH" sz="600" b="0" i="0" u="sng" strike="noStrike" cap="none" normalizeH="0" baseline="30000" dirty="0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5"/>
              </a:rPr>
              <a:t>[</a:t>
            </a:r>
            <a:r>
              <a:rPr kumimoji="0" lang="en-ZA" altLang="en-CH" sz="600" b="0" i="0" u="sng" strike="noStrike" cap="none" normalizeH="0" baseline="30000" dirty="0" err="1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5"/>
              </a:rPr>
              <a:t>i</a:t>
            </a:r>
            <a:r>
              <a:rPr kumimoji="0" lang="en-ZA" altLang="en-CH" sz="600" b="0" i="0" u="sng" strike="noStrike" cap="none" normalizeH="0" baseline="30000" dirty="0" bmk="">
                <a:ln>
                  <a:noFill/>
                </a:ln>
                <a:solidFill>
                  <a:srgbClr val="96607D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5"/>
              </a:rPr>
              <a:t>]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. UNAIDS (2021). Global AIDS Strategy 2021-2026 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—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End Inequalities. End AIDS. Page 103. Online at 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6"/>
              </a:rPr>
              <a:t>https://www.unaids.org/sites/default/files/media_asset/global-AIDS-strategy-2021-2026_en.pdf</a:t>
            </a:r>
            <a:r>
              <a:rPr kumimoji="0" lang="en-ZA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&amp; UNAIDS (2025). AIDS, crisis and the power to transform: UNAIDS Global AIDS Update 2025. Geneva: Joint United Nations Programme on HIV/AIDS; 2025. Licence: CC BY-NC-SA 3.0 IGO. </a:t>
            </a:r>
            <a:r>
              <a:rPr kumimoji="0" lang="en-US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age 112-113. Online at </a:t>
            </a:r>
            <a:r>
              <a:rPr kumimoji="0" lang="en-US" altLang="en-CH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hlinkClick r:id="rId7"/>
              </a:rPr>
              <a:t>https://www.unaids.org/en/resources/documents/2025/2025-global-aids-update</a:t>
            </a:r>
            <a:endParaRPr kumimoji="0" lang="en-US" altLang="en-CH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233077A-1EF0-436B-3BF4-8C4E7F11E505}"/>
              </a:ext>
            </a:extLst>
          </p:cNvPr>
          <p:cNvGraphicFramePr/>
          <p:nvPr/>
        </p:nvGraphicFramePr>
        <p:xfrm>
          <a:off x="5951918" y="3669819"/>
          <a:ext cx="6235700" cy="3176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93A28B5-3B2A-384E-2F4C-E34D9F1EED06}"/>
              </a:ext>
            </a:extLst>
          </p:cNvPr>
          <p:cNvSpPr txBox="1"/>
          <p:nvPr/>
        </p:nvSpPr>
        <p:spPr>
          <a:xfrm>
            <a:off x="333343" y="1346493"/>
            <a:ext cx="5285232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 45% reduction in cost for meeting 2030 prevention targets in low-and middle-income countries compared to the resource needs estimate for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ductions in commodity p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mproved focus of programs and targ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The bulk of resource need for prevention is now in middle- income count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Among the Top 10 LMICs for prevention resource nee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dirty="0"/>
              <a:t>9 of 10 are middle- income countri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dirty="0"/>
              <a:t>8 of 10 are outside sub-Sahara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b="1" dirty="0"/>
          </a:p>
        </p:txBody>
      </p:sp>
    </p:spTree>
    <p:extLst>
      <p:ext uri="{BB962C8B-B14F-4D97-AF65-F5344CB8AC3E}">
        <p14:creationId xmlns:p14="http://schemas.microsoft.com/office/powerpoint/2010/main" val="38476331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0D92C-DB49-F7A9-88FD-0874055D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272" y="136525"/>
            <a:ext cx="10515600" cy="1325563"/>
          </a:xfrm>
        </p:spPr>
        <p:txBody>
          <a:bodyPr/>
          <a:lstStyle/>
          <a:p>
            <a:r>
              <a:rPr lang="en-US" dirty="0"/>
              <a:t>2030 </a:t>
            </a:r>
            <a:r>
              <a:rPr lang="en-US" dirty="0" err="1"/>
              <a:t>PrEP</a:t>
            </a:r>
            <a:r>
              <a:rPr lang="en-US" dirty="0"/>
              <a:t> targets in LMICs by income level</a:t>
            </a:r>
            <a:endParaRPr lang="en-CH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D72D80A-5FA1-8C9C-08EE-0C7EBDE41E2F}"/>
              </a:ext>
            </a:extLst>
          </p:cNvPr>
          <p:cNvGraphicFramePr>
            <a:graphicFrameLocks/>
          </p:cNvGraphicFramePr>
          <p:nvPr/>
        </p:nvGraphicFramePr>
        <p:xfrm>
          <a:off x="173736" y="1572768"/>
          <a:ext cx="8714231" cy="4920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81663BA-8558-0122-611E-CC3B1D254924}"/>
              </a:ext>
            </a:extLst>
          </p:cNvPr>
          <p:cNvGraphicFramePr>
            <a:graphicFrameLocks/>
          </p:cNvGraphicFramePr>
          <p:nvPr/>
        </p:nvGraphicFramePr>
        <p:xfrm>
          <a:off x="8622792" y="1572768"/>
          <a:ext cx="3474720" cy="3462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407707E-3B94-3538-EBF4-D64CC4F2827E}"/>
              </a:ext>
            </a:extLst>
          </p:cNvPr>
          <p:cNvSpPr txBox="1"/>
          <p:nvPr/>
        </p:nvSpPr>
        <p:spPr>
          <a:xfrm>
            <a:off x="3118104" y="3636950"/>
            <a:ext cx="5073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 of this is South Africa                                         </a:t>
            </a:r>
            <a:r>
              <a:rPr kumimoji="0" lang="en-US" sz="1200" b="0" i="0" u="none" strike="sng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~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0% of this is Mozambique</a:t>
            </a:r>
            <a:endParaRPr kumimoji="0" lang="en-CH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4436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9345D-394A-F224-7868-6CE70A6B0E4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083227" y="900387"/>
            <a:ext cx="2577539" cy="1181076"/>
          </a:xfrm>
          <a:solidFill>
            <a:srgbClr val="FFCCCC"/>
          </a:solidFill>
        </p:spPr>
        <p:txBody>
          <a:bodyPr>
            <a:no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out sustained and accelerated primary prevention, 2030 targets will be out of reach and gains lo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28F4E5-B12A-CFCB-31C4-CAA2C4A7B4BB}"/>
              </a:ext>
            </a:extLst>
          </p:cNvPr>
          <p:cNvSpPr txBox="1"/>
          <p:nvPr/>
        </p:nvSpPr>
        <p:spPr>
          <a:xfrm>
            <a:off x="7399661" y="6350169"/>
            <a:ext cx="4666488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ource: UNAIDS estimates and projections from Avenir Health, October 2025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or more information please see: https://www.unaids.org/sites/default/files/2025-04/JC3144_Estimates_Funding_cuts_impact_En.pd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67BA7D-7F51-AB31-FF72-FB68BDF79FE4}"/>
              </a:ext>
            </a:extLst>
          </p:cNvPr>
          <p:cNvSpPr txBox="1"/>
          <p:nvPr/>
        </p:nvSpPr>
        <p:spPr>
          <a:xfrm>
            <a:off x="180568" y="507831"/>
            <a:ext cx="107670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ew HIV infections: Trends and projec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or three scenarios, globa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B59C6-0A6A-F50A-B67F-DC775D1057CE}"/>
              </a:ext>
            </a:extLst>
          </p:cNvPr>
          <p:cNvSpPr txBox="1"/>
          <p:nvPr/>
        </p:nvSpPr>
        <p:spPr>
          <a:xfrm>
            <a:off x="180568" y="97760"/>
            <a:ext cx="107670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he world’s HIV response at a tipping point</a:t>
            </a:r>
          </a:p>
        </p:txBody>
      </p:sp>
      <p:pic>
        <p:nvPicPr>
          <p:cNvPr id="9" name="image1.png">
            <a:extLst>
              <a:ext uri="{FF2B5EF4-FFF2-40B4-BE49-F238E27FC236}">
                <a16:creationId xmlns:a16="http://schemas.microsoft.com/office/drawing/2014/main" id="{5CCC6826-3104-DB22-0DE2-9866122CF1B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68" y="6390908"/>
            <a:ext cx="747017" cy="369332"/>
          </a:xfrm>
          <a:prstGeom prst="rect">
            <a:avLst/>
          </a:prstGeom>
        </p:spPr>
      </p:pic>
      <p:pic>
        <p:nvPicPr>
          <p:cNvPr id="11" name="Picture 10" descr="A black and red letter a&#10;&#10;AI-generated content may be incorrect.">
            <a:extLst>
              <a:ext uri="{FF2B5EF4-FFF2-40B4-BE49-F238E27FC236}">
                <a16:creationId xmlns:a16="http://schemas.microsoft.com/office/drawing/2014/main" id="{220AD228-FF21-6429-3122-5542CE6C96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6532055"/>
            <a:ext cx="1152144" cy="216027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6FD89A1-0756-48E7-AE2F-005B931899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5212644"/>
              </p:ext>
            </p:extLst>
          </p:nvPr>
        </p:nvGraphicFramePr>
        <p:xfrm>
          <a:off x="393366" y="1372840"/>
          <a:ext cx="7204576" cy="4552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788972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9021B-130F-9FD6-1992-B37B6DB95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727" y="636292"/>
            <a:ext cx="3033811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2030 Condom targets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4600AE-79C0-0A43-0A70-793DC58D2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9089" y="94569"/>
            <a:ext cx="7442911" cy="67634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C50572-CF2C-6F82-F8C1-3B92766B2B6B}"/>
              </a:ext>
            </a:extLst>
          </p:cNvPr>
          <p:cNvSpPr txBox="1"/>
          <p:nvPr/>
        </p:nvSpPr>
        <p:spPr>
          <a:xfrm>
            <a:off x="649540" y="2667525"/>
            <a:ext cx="396029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 for differentiated total market/ program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role for markets in high-income and (upper) middle- income cou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y role for international financing in lower- income countries with high HI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76408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76D9E-C1E8-600A-799C-C9716807B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52" y="246254"/>
            <a:ext cx="10515600" cy="29260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From needs estimates to delivery and financing (illustrative country table)</a:t>
            </a:r>
            <a:endParaRPr lang="en-CH" sz="24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1FF1DF6-C72C-4792-41AC-A07C06A94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355342"/>
              </p:ext>
            </p:extLst>
          </p:nvPr>
        </p:nvGraphicFramePr>
        <p:xfrm>
          <a:off x="36576" y="657731"/>
          <a:ext cx="12127990" cy="6200269"/>
        </p:xfrm>
        <a:graphic>
          <a:graphicData uri="http://schemas.openxmlformats.org/drawingml/2006/table">
            <a:tbl>
              <a:tblPr firstRow="1" firstCol="1" bandRow="1"/>
              <a:tblGrid>
                <a:gridCol w="3283653">
                  <a:extLst>
                    <a:ext uri="{9D8B030D-6E8A-4147-A177-3AD203B41FA5}">
                      <a16:colId xmlns:a16="http://schemas.microsoft.com/office/drawing/2014/main" val="400177697"/>
                    </a:ext>
                  </a:extLst>
                </a:gridCol>
                <a:gridCol w="1351337">
                  <a:extLst>
                    <a:ext uri="{9D8B030D-6E8A-4147-A177-3AD203B41FA5}">
                      <a16:colId xmlns:a16="http://schemas.microsoft.com/office/drawing/2014/main" val="3742581936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556886850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4136445004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939436152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329140661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183928391"/>
                    </a:ext>
                  </a:extLst>
                </a:gridCol>
              </a:tblGrid>
              <a:tr h="563056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Prevention options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rget </a:t>
                      </a:r>
                      <a:b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ZA" sz="1600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illustrative)</a:t>
                      </a:r>
                      <a:endParaRPr lang="en-CH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457200" algn="ctr">
                        <a:buNone/>
                      </a:pPr>
                      <a: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gram /market segment</a:t>
                      </a:r>
                    </a:p>
                    <a:p>
                      <a:pPr marL="0" algn="ctr">
                        <a:buNone/>
                      </a:pPr>
                      <a:r>
                        <a:rPr lang="en-ZA" sz="1400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share in % of products and populations to be reached)</a:t>
                      </a:r>
                      <a:endParaRPr lang="en-CH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ZA" sz="1600" b="1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unding source for free &amp; subsidized  </a:t>
                      </a:r>
                      <a:r>
                        <a:rPr lang="en-ZA" sz="1400" kern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share in % of cost)</a:t>
                      </a:r>
                      <a:endParaRPr lang="en-CH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 algn="ctr">
                        <a:buNone/>
                      </a:pPr>
                      <a:endParaRPr lang="en-CH" sz="11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91535"/>
                  </a:ext>
                </a:extLst>
              </a:tr>
              <a:tr h="528297"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Free (public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ubsidized </a:t>
                      </a:r>
                      <a:r>
                        <a:rPr lang="en-ZA" sz="1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social marketing)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old </a:t>
                      </a:r>
                      <a:r>
                        <a:rPr lang="en-ZA" sz="1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private /out of pocket)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Government 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onors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6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2302497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dom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5 million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330619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EP (Daily Oral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263413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EP (Long-acting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30 000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582932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P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307072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VMMC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339499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Needles &amp; syringe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.5 million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131993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OAMT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 8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954564"/>
                  </a:ext>
                </a:extLst>
              </a:tr>
              <a:tr h="5630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ople-centred programs and access platforms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arget</a:t>
                      </a:r>
                      <a:b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ZA" sz="16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illustrative)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Facility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Outreach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Virtual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Government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onor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20428"/>
                  </a:ext>
                </a:extLst>
              </a:tr>
              <a:tr h="5630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omen &amp; girls in locations with elevated HIV incidence </a:t>
                      </a:r>
                      <a:r>
                        <a:rPr lang="en-ZA" sz="1600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&gt;0.2%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193969"/>
                  </a:ext>
                </a:extLst>
              </a:tr>
              <a:tr h="56305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en and boys in locations with elevated HIV incidence </a:t>
                      </a:r>
                      <a:r>
                        <a:rPr lang="en-ZA" sz="1600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(&gt;0.2%)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0 000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9788756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ex Workers reached 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5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513949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SM reached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550453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G people reached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74201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WID reached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528662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b="1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risoners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96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 000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%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-</a:t>
                      </a:r>
                      <a:endParaRPr lang="en-CH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1600" kern="100" dirty="0">
                          <a:solidFill>
                            <a:srgbClr val="156082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%</a:t>
                      </a:r>
                      <a:endParaRPr lang="en-CH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566" marR="43566" marT="6051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730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729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A46B1-3FAF-A00F-B352-96C11F114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947" y="262856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00A99A"/>
                </a:solidFill>
              </a:rPr>
              <a:t>Key milestones of a roll-out plan for 2030</a:t>
            </a:r>
            <a:endParaRPr lang="en-CH" dirty="0">
              <a:solidFill>
                <a:srgbClr val="00A99A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FF024B6-43F4-B1A7-1AA7-4E8215B15C46}"/>
              </a:ext>
            </a:extLst>
          </p:cNvPr>
          <p:cNvGraphicFramePr>
            <a:graphicFrameLocks noGrp="1"/>
          </p:cNvGraphicFramePr>
          <p:nvPr/>
        </p:nvGraphicFramePr>
        <p:xfrm>
          <a:off x="549441" y="1485593"/>
          <a:ext cx="10515600" cy="4626122"/>
        </p:xfrm>
        <a:graphic>
          <a:graphicData uri="http://schemas.openxmlformats.org/drawingml/2006/table">
            <a:tbl>
              <a:tblPr firstRow="1" firstCol="1" bandRow="1"/>
              <a:tblGrid>
                <a:gridCol w="477427">
                  <a:extLst>
                    <a:ext uri="{9D8B030D-6E8A-4147-A177-3AD203B41FA5}">
                      <a16:colId xmlns:a16="http://schemas.microsoft.com/office/drawing/2014/main" val="224804411"/>
                    </a:ext>
                  </a:extLst>
                </a:gridCol>
                <a:gridCol w="8310127">
                  <a:extLst>
                    <a:ext uri="{9D8B030D-6E8A-4147-A177-3AD203B41FA5}">
                      <a16:colId xmlns:a16="http://schemas.microsoft.com/office/drawing/2014/main" val="1524011915"/>
                    </a:ext>
                  </a:extLst>
                </a:gridCol>
                <a:gridCol w="1728046">
                  <a:extLst>
                    <a:ext uri="{9D8B030D-6E8A-4147-A177-3AD203B41FA5}">
                      <a16:colId xmlns:a16="http://schemas.microsoft.com/office/drawing/2014/main" val="2562898770"/>
                    </a:ext>
                  </a:extLst>
                </a:gridCol>
              </a:tblGrid>
              <a:tr h="297962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kern="1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ue Date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92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817584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Needs Estimates</a:t>
                      </a:r>
                      <a:r>
                        <a:rPr lang="en-ZA" sz="1600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Revise prevention denominators for those in need of targeted services 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pril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289209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ethod Mix Tables</a:t>
                      </a:r>
                      <a:r>
                        <a:rPr lang="en-ZA" sz="1600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Set annual numeric access targets per population and intervention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pril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157187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&amp;E Tools: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Update tools to track overall HIV prevention use (i.e., any method at last sex)  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June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677632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ccess Platforms: 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ap prevention use by population and product across delivery models 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June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464456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otal Market Approach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Analyse viability of increased self-care and social enterprise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ugust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372237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source Needs:</a:t>
                      </a: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Estimate domestic and external funding required to meet access targets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eptember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804969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lanning: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 Develop National “Prevention 2030” Action Plan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ecember 2026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0982112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onitoring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Update Prevention 2030 country scorecards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nnually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6746388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source Tracking: 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ssess prevention spending; focus on domestic and KP expenditure 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Annually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370877"/>
                  </a:ext>
                </a:extLst>
              </a:tr>
              <a:tr h="39672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ZA" sz="2800" i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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ZA" sz="1600" b="1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anagement</a:t>
                      </a:r>
                      <a:r>
                        <a:rPr lang="en-ZA" sz="1600" kern="10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: TBC</a:t>
                      </a:r>
                      <a:endParaRPr lang="en-CH" sz="2800" kern="10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kern="100" dirty="0">
                          <a:solidFill>
                            <a:srgbClr val="0F476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BC</a:t>
                      </a:r>
                      <a:endParaRPr lang="en-CH" sz="2800" kern="100" dirty="0">
                        <a:solidFill>
                          <a:srgbClr val="0F476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728007"/>
                  </a:ext>
                </a:extLst>
              </a:tr>
            </a:tbl>
          </a:graphicData>
        </a:graphic>
      </p:graphicFrame>
      <p:pic>
        <p:nvPicPr>
          <p:cNvPr id="9" name="image1.png">
            <a:extLst>
              <a:ext uri="{FF2B5EF4-FFF2-40B4-BE49-F238E27FC236}">
                <a16:creationId xmlns:a16="http://schemas.microsoft.com/office/drawing/2014/main" id="{78639A69-4403-B958-D867-003E11D076B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33" y="6334353"/>
            <a:ext cx="747017" cy="369332"/>
          </a:xfrm>
          <a:prstGeom prst="rect">
            <a:avLst/>
          </a:prstGeom>
        </p:spPr>
      </p:pic>
      <p:pic>
        <p:nvPicPr>
          <p:cNvPr id="10" name="Picture 9" descr="A black and red letter a&#10;&#10;AI-generated content may be incorrect.">
            <a:extLst>
              <a:ext uri="{FF2B5EF4-FFF2-40B4-BE49-F238E27FC236}">
                <a16:creationId xmlns:a16="http://schemas.microsoft.com/office/drawing/2014/main" id="{74CBC2F1-D4B2-6678-B731-559D8ABA9D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6411005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991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30E18-C764-12A1-6829-8D4F5D1AD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2155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00A99A"/>
                </a:solidFill>
              </a:rPr>
              <a:t>Call to action: A new era of prevention</a:t>
            </a:r>
            <a:endParaRPr lang="en-CH" sz="3600" dirty="0">
              <a:solidFill>
                <a:srgbClr val="00A99A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A704C8-BDA8-9C80-172B-2AE277D340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5544"/>
            <a:ext cx="10515600" cy="4745155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en-US" dirty="0"/>
              <a:t>New set of targets</a:t>
            </a:r>
          </a:p>
          <a:p>
            <a:pPr lvl="0"/>
            <a:r>
              <a:rPr lang="en-US" dirty="0"/>
              <a:t>New approach to prevention needs estimates</a:t>
            </a:r>
          </a:p>
          <a:p>
            <a:pPr lvl="0"/>
            <a:r>
              <a:rPr lang="en-US" dirty="0"/>
              <a:t>Will enable </a:t>
            </a:r>
          </a:p>
          <a:p>
            <a:pPr lvl="1"/>
            <a:r>
              <a:rPr lang="en-US" dirty="0"/>
              <a:t>more granular &amp; more systematic analysis of need across populations and prevention options</a:t>
            </a:r>
          </a:p>
          <a:p>
            <a:pPr lvl="1"/>
            <a:r>
              <a:rPr lang="en-US" dirty="0"/>
              <a:t>annual tracking of progress at all levels</a:t>
            </a:r>
          </a:p>
          <a:p>
            <a:pPr lvl="1"/>
            <a:r>
              <a:rPr lang="en-US" dirty="0"/>
              <a:t>prioritization and alignmen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A new era, a new framework</a:t>
            </a:r>
          </a:p>
          <a:p>
            <a:pPr lvl="1"/>
            <a:r>
              <a:rPr lang="en-US" dirty="0"/>
              <a:t>Country-led, streamlined, sustainable models &amp; costs</a:t>
            </a:r>
          </a:p>
          <a:p>
            <a:pPr lvl="1"/>
            <a:r>
              <a:rPr lang="en-US" dirty="0"/>
              <a:t>Revised state-of-the-art country prevention plans are needed to chart the way to 2030</a:t>
            </a:r>
          </a:p>
          <a:p>
            <a:r>
              <a:rPr lang="en-US" dirty="0">
                <a:solidFill>
                  <a:srgbClr val="00A99A"/>
                </a:solidFill>
              </a:rPr>
              <a:t>2026 – we can make it the year of a renewed prevention push!</a:t>
            </a:r>
          </a:p>
          <a:p>
            <a:endParaRPr lang="en-CH" dirty="0">
              <a:solidFill>
                <a:srgbClr val="00A99A"/>
              </a:solidFill>
            </a:endParaRP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C38D7A3C-F58E-E993-87C2-44634636D2D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38" y="6241596"/>
            <a:ext cx="747017" cy="369332"/>
          </a:xfrm>
          <a:prstGeom prst="rect">
            <a:avLst/>
          </a:prstGeom>
        </p:spPr>
      </p:pic>
      <p:pic>
        <p:nvPicPr>
          <p:cNvPr id="5" name="Picture 4" descr="A black and red letter a&#10;&#10;AI-generated content may be incorrect.">
            <a:extLst>
              <a:ext uri="{FF2B5EF4-FFF2-40B4-BE49-F238E27FC236}">
                <a16:creationId xmlns:a16="http://schemas.microsoft.com/office/drawing/2014/main" id="{FCB83B86-FF1A-C6DF-F149-92D47B690E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304" y="6318248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0991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8BE14-2499-B7E5-001D-0B212B504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Thank you, Merci, </a:t>
            </a:r>
            <a:r>
              <a:rPr lang="en-US" sz="5400" dirty="0" err="1"/>
              <a:t>Obrigado</a:t>
            </a:r>
            <a:endParaRPr lang="en-CH" sz="5400" dirty="0"/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315E3F6C-4094-B8B8-C3C2-7CD3B7769531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609" y="5617029"/>
            <a:ext cx="2093361" cy="991177"/>
          </a:xfrm>
          <a:prstGeom prst="rect">
            <a:avLst/>
          </a:prstGeom>
        </p:spPr>
      </p:pic>
      <p:pic>
        <p:nvPicPr>
          <p:cNvPr id="5" name="Picture 4" descr="A black and red letter a&#10;&#10;AI-generated content may be incorrect.">
            <a:extLst>
              <a:ext uri="{FF2B5EF4-FFF2-40B4-BE49-F238E27FC236}">
                <a16:creationId xmlns:a16="http://schemas.microsoft.com/office/drawing/2014/main" id="{3044B051-F39C-6A4C-F428-24AD73DE6F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4716" y="5921828"/>
            <a:ext cx="2920453" cy="547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997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6C3E4-C35B-05DB-FF1D-800399237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953" y="88399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00A99A"/>
                </a:solidFill>
              </a:rPr>
              <a:t>Progress made in the Africa region through a combination of treatment and primary prevention </a:t>
            </a:r>
            <a:endParaRPr lang="en-CH" sz="3200" dirty="0">
              <a:solidFill>
                <a:srgbClr val="00A99A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598B8D-8A16-3471-6FEC-A8C4F1C0DE27}"/>
              </a:ext>
            </a:extLst>
          </p:cNvPr>
          <p:cNvSpPr txBox="1"/>
          <p:nvPr/>
        </p:nvSpPr>
        <p:spPr>
          <a:xfrm>
            <a:off x="275721" y="2066560"/>
            <a:ext cx="2521907" cy="21852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C00000"/>
                </a:solidFill>
              </a:rPr>
              <a:t>but </a:t>
            </a:r>
            <a:br>
              <a:rPr lang="en-US" sz="2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- large gaps remain to reach targets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- </a:t>
            </a:r>
            <a:r>
              <a:rPr lang="en-US" dirty="0">
                <a:solidFill>
                  <a:srgbClr val="C00000"/>
                </a:solidFill>
              </a:rPr>
              <a:t>progress</a:t>
            </a:r>
            <a:r>
              <a:rPr lang="en-US" sz="1800" dirty="0">
                <a:solidFill>
                  <a:srgbClr val="C00000"/>
                </a:solidFill>
              </a:rPr>
              <a:t> is unequal between countries and,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- threatened by declining investment</a:t>
            </a:r>
            <a:endParaRPr lang="en-CH" dirty="0">
              <a:solidFill>
                <a:srgbClr val="C00000"/>
              </a:solidFill>
            </a:endParaRPr>
          </a:p>
        </p:txBody>
      </p:sp>
      <p:pic>
        <p:nvPicPr>
          <p:cNvPr id="12" name="image1.png">
            <a:extLst>
              <a:ext uri="{FF2B5EF4-FFF2-40B4-BE49-F238E27FC236}">
                <a16:creationId xmlns:a16="http://schemas.microsoft.com/office/drawing/2014/main" id="{EA7D5D1F-E538-CF08-24DD-35FCD450E40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27" y="6300583"/>
            <a:ext cx="747017" cy="369332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1FACD45-B57B-6633-6BCE-B69815E5C0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5803034"/>
              </p:ext>
            </p:extLst>
          </p:nvPr>
        </p:nvGraphicFramePr>
        <p:xfrm>
          <a:off x="3143667" y="1621665"/>
          <a:ext cx="7661275" cy="5048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600F053-D14E-596A-CAE2-FBEAD8A45CCC}"/>
              </a:ext>
            </a:extLst>
          </p:cNvPr>
          <p:cNvSpPr txBox="1"/>
          <p:nvPr/>
        </p:nvSpPr>
        <p:spPr>
          <a:xfrm>
            <a:off x="5988468" y="6069840"/>
            <a:ext cx="2837252" cy="2645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>
                <a:solidFill>
                  <a:schemeClr val="accent6"/>
                </a:solidFill>
              </a:rPr>
              <a:t>2030 Target: 90%</a:t>
            </a:r>
            <a:r>
              <a:rPr lang="en-US" sz="1100" b="1" baseline="0">
                <a:solidFill>
                  <a:schemeClr val="accent6"/>
                </a:solidFill>
              </a:rPr>
              <a:t> reduction compared to 2010</a:t>
            </a:r>
            <a:endParaRPr lang="en-CH" sz="1100" b="1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709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D378F-F989-0336-77FF-F4298F553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251" y="2724037"/>
            <a:ext cx="4998963" cy="1932184"/>
          </a:xfrm>
        </p:spPr>
        <p:txBody>
          <a:bodyPr>
            <a:normAutofit/>
          </a:bodyPr>
          <a:lstStyle/>
          <a:p>
            <a:r>
              <a:rPr lang="en-US" dirty="0"/>
              <a:t>Global AIDS Strategy </a:t>
            </a:r>
            <a:br>
              <a:rPr lang="en-US" dirty="0"/>
            </a:br>
            <a:r>
              <a:rPr lang="en-US" dirty="0"/>
              <a:t>2026-2031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8EBA24-06F9-5C9F-0268-F67D1968E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4725" y="0"/>
            <a:ext cx="6927275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597DC29-B6BC-7C64-02F5-C3884655744D}"/>
              </a:ext>
            </a:extLst>
          </p:cNvPr>
          <p:cNvSpPr txBox="1"/>
          <p:nvPr/>
        </p:nvSpPr>
        <p:spPr>
          <a:xfrm>
            <a:off x="259251" y="4286889"/>
            <a:ext cx="51641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36A0A8"/>
                </a:solidFill>
              </a:rPr>
              <a:t>2030 Global AIDS Target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437173B-707B-D532-BF7C-9C74C63936DF}"/>
              </a:ext>
            </a:extLst>
          </p:cNvPr>
          <p:cNvSpPr/>
          <p:nvPr/>
        </p:nvSpPr>
        <p:spPr>
          <a:xfrm>
            <a:off x="5258214" y="1014984"/>
            <a:ext cx="6927275" cy="1179576"/>
          </a:xfrm>
          <a:prstGeom prst="round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895371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7107F3-1F45-FEFB-F8E7-1D46E484F81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E9E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81E5C-0A8C-F70A-5DDE-F5273DBDE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1314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sz="10000" b="1" dirty="0">
                <a:solidFill>
                  <a:srgbClr val="FFFF00"/>
                </a:solidFill>
              </a:rPr>
              <a:t>Bold Vision</a:t>
            </a:r>
            <a:endParaRPr lang="en-CH" sz="10000" b="1" dirty="0">
              <a:solidFill>
                <a:srgbClr val="FFFF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AABEC3-7D3A-1EE0-518E-2F656A579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35" y="2396004"/>
            <a:ext cx="11066930" cy="3890682"/>
          </a:xfrm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r>
              <a:rPr lang="en-US" sz="7200" b="1" dirty="0">
                <a:solidFill>
                  <a:schemeClr val="bg1"/>
                </a:solidFill>
              </a:rPr>
              <a:t>By 2030, every person at risk of HIV will have access to a prevention option that suits their needs.</a:t>
            </a:r>
            <a:endParaRPr lang="en-CH" sz="7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0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E3B08-9103-6285-A233-AA0532A0AE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40F06-1F38-9876-E583-45253292D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188" y="571314"/>
            <a:ext cx="11318300" cy="1325563"/>
          </a:xfrm>
        </p:spPr>
        <p:txBody>
          <a:bodyPr>
            <a:noAutofit/>
          </a:bodyPr>
          <a:lstStyle/>
          <a:p>
            <a:pPr algn="ctr"/>
            <a:r>
              <a:rPr lang="en-US" sz="8000" b="1" dirty="0">
                <a:solidFill>
                  <a:srgbClr val="C00000"/>
                </a:solidFill>
              </a:rPr>
              <a:t>Reality of a Funding Crisis</a:t>
            </a:r>
            <a:endParaRPr lang="en-CH" sz="8000" b="1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BF46D-4E72-A9BE-26A7-2D1BF1F95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35" y="2044700"/>
            <a:ext cx="11066930" cy="4813300"/>
          </a:xfrm>
        </p:spPr>
        <p:txBody>
          <a:bodyPr>
            <a:normAutofit fontScale="62500" lnSpcReduction="20000"/>
          </a:bodyPr>
          <a:lstStyle/>
          <a:p>
            <a:pPr marL="0" indent="0" algn="ctr">
              <a:buNone/>
            </a:pPr>
            <a:r>
              <a:rPr lang="en-US" sz="6600" b="1" dirty="0">
                <a:solidFill>
                  <a:schemeClr val="accent4">
                    <a:lumMod val="75000"/>
                  </a:schemeClr>
                </a:solidFill>
              </a:rPr>
              <a:t>We will not achieve our bold vision for 2030 in a constrained environment without significant transformation.</a:t>
            </a:r>
          </a:p>
          <a:p>
            <a:pPr marL="0" indent="0" algn="ctr">
              <a:buNone/>
            </a:pPr>
            <a:endParaRPr lang="en-US" sz="29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6600" b="1" dirty="0">
                <a:solidFill>
                  <a:schemeClr val="accent4">
                    <a:lumMod val="75000"/>
                  </a:schemeClr>
                </a:solidFill>
              </a:rPr>
              <a:t>Countries now need to reshape their responses towards country-led, sustainable, well-prioritized, efficient prevention programs.</a:t>
            </a:r>
          </a:p>
          <a:p>
            <a:pPr marL="0" indent="0" algn="ctr">
              <a:buNone/>
            </a:pPr>
            <a:endParaRPr lang="en-US" sz="27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6600" b="1" dirty="0">
                <a:solidFill>
                  <a:srgbClr val="D30000"/>
                </a:solidFill>
              </a:rPr>
              <a:t>-&gt; optimally use available resources</a:t>
            </a:r>
            <a:endParaRPr lang="en-CH" sz="6600" b="1" dirty="0">
              <a:solidFill>
                <a:srgbClr val="D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788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A8C0C4-2022-9249-59D2-A1DAB76E6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6305324-1126-FC5B-CDD9-EF69826F64EC}"/>
              </a:ext>
            </a:extLst>
          </p:cNvPr>
          <p:cNvSpPr txBox="1"/>
          <p:nvPr/>
        </p:nvSpPr>
        <p:spPr>
          <a:xfrm>
            <a:off x="10304422" y="839797"/>
            <a:ext cx="8483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CH"/>
            </a:defPPr>
            <a:lvl1pPr>
              <a:defRPr sz="1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act</a:t>
            </a:r>
            <a:endParaRPr kumimoji="0" lang="en-CH" sz="1600" b="1" i="0" u="none" strike="noStrike" kern="1200" cap="none" spc="0" normalizeH="0" baseline="0" noProof="0" dirty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977AF1B-C0D4-7C94-623D-15E3A28F15A7}"/>
              </a:ext>
            </a:extLst>
          </p:cNvPr>
          <p:cNvSpPr txBox="1"/>
          <p:nvPr/>
        </p:nvSpPr>
        <p:spPr>
          <a:xfrm>
            <a:off x="245979" y="240170"/>
            <a:ext cx="10242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Zooming in on 2030 programmatic primary prevention targets within GAS</a:t>
            </a:r>
            <a:endParaRPr kumimoji="0" lang="en-CH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F09546-C3D2-1054-2009-2B6B542E7E42}"/>
              </a:ext>
            </a:extLst>
          </p:cNvPr>
          <p:cNvSpPr txBox="1"/>
          <p:nvPr/>
        </p:nvSpPr>
        <p:spPr>
          <a:xfrm>
            <a:off x="2847717" y="850905"/>
            <a:ext cx="94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s</a:t>
            </a:r>
            <a:endParaRPr kumimoji="0" lang="en-CH" sz="1600" b="1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88ED55-A53B-7E4E-EEF9-974A87BC9523}"/>
              </a:ext>
            </a:extLst>
          </p:cNvPr>
          <p:cNvSpPr txBox="1"/>
          <p:nvPr/>
        </p:nvSpPr>
        <p:spPr>
          <a:xfrm>
            <a:off x="6520200" y="833176"/>
            <a:ext cx="11582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comes</a:t>
            </a:r>
            <a:endParaRPr kumimoji="0" lang="en-CH" sz="1600" b="1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6A8A8C-FBBF-0606-092A-667AB9ADE146}"/>
              </a:ext>
            </a:extLst>
          </p:cNvPr>
          <p:cNvSpPr txBox="1"/>
          <p:nvPr/>
        </p:nvSpPr>
        <p:spPr>
          <a:xfrm>
            <a:off x="2815232" y="2167128"/>
            <a:ext cx="2920298" cy="2523745"/>
          </a:xfrm>
          <a:prstGeom prst="roundRect">
            <a:avLst>
              <a:gd name="adj" fmla="val 3668"/>
            </a:avLst>
          </a:prstGeom>
          <a:solidFill>
            <a:srgbClr val="ECF9FE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>
              <a:lnSpc>
                <a:spcPct val="80000"/>
              </a:lnSpc>
              <a:defRPr sz="1050" b="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lated into: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people reached with person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ntr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revention programs*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country distribution need met for condoms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PEP, needles, syringes, OAMT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 of adolescents and young people receive CSE</a:t>
            </a:r>
          </a:p>
          <a:p>
            <a:pPr marL="171450" marR="0" lvl="0" indent="-17145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 of people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ntr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HIV preventio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m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for key populations delivered by community-led organization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chieved through trusted health, community, virtual and other sector platforms for women &amp; girls, men &amp; boys in settings with high HIV and  five key popul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on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C0A3D5-B886-FEBD-9B16-886C9DD5B73D}"/>
              </a:ext>
            </a:extLst>
          </p:cNvPr>
          <p:cNvSpPr txBox="1"/>
          <p:nvPr/>
        </p:nvSpPr>
        <p:spPr>
          <a:xfrm>
            <a:off x="10233272" y="2447828"/>
            <a:ext cx="1838917" cy="1962344"/>
          </a:xfrm>
          <a:prstGeom prst="roundRect">
            <a:avLst>
              <a:gd name="adj" fmla="val 831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 HIV infections reduced by 90% in 2030 compared to 201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782CB5-5932-DA65-8660-F7632672355A}"/>
              </a:ext>
            </a:extLst>
          </p:cNvPr>
          <p:cNvSpPr txBox="1"/>
          <p:nvPr/>
        </p:nvSpPr>
        <p:spPr>
          <a:xfrm>
            <a:off x="6495108" y="1173905"/>
            <a:ext cx="2978492" cy="988777"/>
          </a:xfrm>
          <a:prstGeom prst="roundRect">
            <a:avLst>
              <a:gd name="adj" fmla="val 580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* of people in need of prevention use effective prevention opti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F7D5B566-3578-56BE-A282-9EE6E5B90FC4}"/>
              </a:ext>
            </a:extLst>
          </p:cNvPr>
          <p:cNvSpPr/>
          <p:nvPr/>
        </p:nvSpPr>
        <p:spPr>
          <a:xfrm>
            <a:off x="9646686" y="1163798"/>
            <a:ext cx="376606" cy="4636367"/>
          </a:xfrm>
          <a:prstGeom prst="homePlate">
            <a:avLst>
              <a:gd name="adj" fmla="val 10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76C011DA-CC91-6B91-BBAF-6ADE145490F3}"/>
              </a:ext>
            </a:extLst>
          </p:cNvPr>
          <p:cNvSpPr/>
          <p:nvPr/>
        </p:nvSpPr>
        <p:spPr>
          <a:xfrm>
            <a:off x="5929513" y="1184246"/>
            <a:ext cx="376606" cy="4615920"/>
          </a:xfrm>
          <a:prstGeom prst="homePlate">
            <a:avLst>
              <a:gd name="adj" fmla="val 10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1F5DE3-694B-89AA-159F-DEF62E193165}"/>
              </a:ext>
            </a:extLst>
          </p:cNvPr>
          <p:cNvSpPr txBox="1"/>
          <p:nvPr/>
        </p:nvSpPr>
        <p:spPr>
          <a:xfrm>
            <a:off x="6495108" y="2162682"/>
            <a:ext cx="2978492" cy="2532637"/>
          </a:xfrm>
          <a:prstGeom prst="roundRect">
            <a:avLst>
              <a:gd name="adj" fmla="val 2295"/>
            </a:avLst>
          </a:prstGeom>
          <a:solidFill>
            <a:srgbClr val="ECF9FE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>
              <a:lnSpc>
                <a:spcPct val="80000"/>
              </a:lnSpc>
              <a:defRPr sz="900" b="0">
                <a:solidFill>
                  <a:srgbClr val="00999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lated into thematic targets: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 condom use with non-regular partner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p to 80% use of ARV-based prevention – PEP/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P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cluding long-acting products in line with epidemiology** and people’s choice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pulation-specific targets:</a:t>
            </a: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0% of boys &amp; men accessed VMMC in 15 priority countries</a:t>
            </a: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people who inject drugs use safe injecting equipment, 50% of people who inject opioids on OST</a:t>
            </a:r>
          </a:p>
          <a:p>
            <a:pPr marL="108000" marR="0" lvl="0" indent="-1080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condom use at paid sex among sex workers and their clie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D07777-0D17-A7B9-DF33-AAA9350D929B}"/>
              </a:ext>
            </a:extLst>
          </p:cNvPr>
          <p:cNvSpPr txBox="1"/>
          <p:nvPr/>
        </p:nvSpPr>
        <p:spPr>
          <a:xfrm>
            <a:off x="6495108" y="5882670"/>
            <a:ext cx="34743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* Fo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targets, indicative HIV incidence thresholds by sub-populations will be updated and simplified, while maintaining the principle of a differentiated approach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D5EB94-F2EE-E617-384D-DAAD5C59CC0B}"/>
              </a:ext>
            </a:extLst>
          </p:cNvPr>
          <p:cNvSpPr txBox="1"/>
          <p:nvPr/>
        </p:nvSpPr>
        <p:spPr>
          <a:xfrm>
            <a:off x="6495108" y="4721276"/>
            <a:ext cx="2978492" cy="1060103"/>
          </a:xfrm>
          <a:prstGeom prst="roundRect">
            <a:avLst>
              <a:gd name="adj" fmla="val 5807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IV treatment as prevention: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ＭＳ Ｐゴシック" panose="020B0600070205080204" pitchFamily="34" charset="-128"/>
                <a:cs typeface="+mn-cs"/>
              </a:rPr>
              <a:t>90% of all people living with HIV have suppressed viral loa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E9AE7A-EC24-ADA1-B163-745E5D635A61}"/>
              </a:ext>
            </a:extLst>
          </p:cNvPr>
          <p:cNvSpPr txBox="1"/>
          <p:nvPr/>
        </p:nvSpPr>
        <p:spPr>
          <a:xfrm>
            <a:off x="2788262" y="4711882"/>
            <a:ext cx="2914014" cy="1078890"/>
          </a:xfrm>
          <a:prstGeom prst="roundRect">
            <a:avLst>
              <a:gd name="adj" fmla="val 5807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roved health, community, education &amp; social support systems, legal environ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0% HIV prevention options delivered by  community-led organiza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3815787-FFCB-29E4-6D0E-8428CD724738}"/>
              </a:ext>
            </a:extLst>
          </p:cNvPr>
          <p:cNvSpPr txBox="1"/>
          <p:nvPr/>
        </p:nvSpPr>
        <p:spPr>
          <a:xfrm>
            <a:off x="269545" y="6492960"/>
            <a:ext cx="286615" cy="157949"/>
          </a:xfrm>
          <a:prstGeom prst="roundRect">
            <a:avLst>
              <a:gd name="adj" fmla="val 6850"/>
            </a:avLst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en-CH"/>
            </a:defPPr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7B48AAD-EAE8-BC58-0992-DF335E8BB7B2}"/>
              </a:ext>
            </a:extLst>
          </p:cNvPr>
          <p:cNvSpPr txBox="1"/>
          <p:nvPr/>
        </p:nvSpPr>
        <p:spPr>
          <a:xfrm>
            <a:off x="685033" y="6377544"/>
            <a:ext cx="17120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 critical HIV, health &amp; development targets</a:t>
            </a:r>
            <a:endParaRPr kumimoji="0" lang="en-CH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1B12934-3C95-AE23-7EC7-5C1A0154CB29}"/>
              </a:ext>
            </a:extLst>
          </p:cNvPr>
          <p:cNvSpPr/>
          <p:nvPr/>
        </p:nvSpPr>
        <p:spPr>
          <a:xfrm>
            <a:off x="256896" y="1184245"/>
            <a:ext cx="2304129" cy="4615920"/>
          </a:xfrm>
          <a:prstGeom prst="roundRect">
            <a:avLst>
              <a:gd name="adj" fmla="val 3439"/>
            </a:avLst>
          </a:prstGeom>
          <a:solidFill>
            <a:srgbClr val="ECF9FE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ople in need of HIV preven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oung people and adults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in areas with elevated HIV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ey populations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sex workers, gay men and other men who have sex with men, transgender people, people who inject drugs, people in prisons and other closed settings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ople living with HI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7E59D0-A519-E27B-41D4-AC2ED795FC9B}"/>
              </a:ext>
            </a:extLst>
          </p:cNvPr>
          <p:cNvSpPr txBox="1"/>
          <p:nvPr/>
        </p:nvSpPr>
        <p:spPr>
          <a:xfrm>
            <a:off x="2815232" y="1178352"/>
            <a:ext cx="2920298" cy="988776"/>
          </a:xfrm>
          <a:prstGeom prst="roundRect">
            <a:avLst>
              <a:gd name="adj" fmla="val 580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H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5% of people in need of prevention reached with HIV preven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2EFD56-5494-69F0-3B38-E876339DB302}"/>
              </a:ext>
            </a:extLst>
          </p:cNvPr>
          <p:cNvSpPr txBox="1"/>
          <p:nvPr/>
        </p:nvSpPr>
        <p:spPr>
          <a:xfrm>
            <a:off x="2699323" y="5830568"/>
            <a:ext cx="36067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CH"/>
            </a:defPPr>
            <a:lvl1pPr>
              <a:defRPr sz="1200">
                <a:solidFill>
                  <a:srgbClr val="009999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* People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ntr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programs in line with programmatic guidance include services, access to prevention options, actions to address structural barriers and tailored prevention communications addressing behavior and nor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C29492-FC3D-4E22-E086-A1829F5D2C84}"/>
              </a:ext>
            </a:extLst>
          </p:cNvPr>
          <p:cNvSpPr txBox="1"/>
          <p:nvPr/>
        </p:nvSpPr>
        <p:spPr>
          <a:xfrm>
            <a:off x="245979" y="838430"/>
            <a:ext cx="18517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F9ED5">
                    <a:lumMod val="40000"/>
                    <a:lumOff val="6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nominators </a:t>
            </a:r>
            <a:endParaRPr kumimoji="0" lang="en-CH" sz="1600" b="0" i="0" u="none" strike="noStrike" kern="1200" cap="none" spc="0" normalizeH="0" baseline="0" noProof="0">
              <a:ln>
                <a:noFill/>
              </a:ln>
              <a:solidFill>
                <a:srgbClr val="0F9ED5">
                  <a:lumMod val="40000"/>
                  <a:lumOff val="6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D5D983-D97A-3D08-FBC9-C6A9C51EBCE0}"/>
              </a:ext>
            </a:extLst>
          </p:cNvPr>
          <p:cNvSpPr txBox="1"/>
          <p:nvPr/>
        </p:nvSpPr>
        <p:spPr>
          <a:xfrm>
            <a:off x="269545" y="6094008"/>
            <a:ext cx="286615" cy="157949"/>
          </a:xfrm>
          <a:prstGeom prst="roundRect">
            <a:avLst>
              <a:gd name="adj" fmla="val 6850"/>
            </a:avLst>
          </a:prstGeom>
          <a:solidFill>
            <a:schemeClr val="accent4"/>
          </a:solidFill>
        </p:spPr>
        <p:txBody>
          <a:bodyPr wrap="square" rtlCol="0">
            <a:spAutoFit/>
          </a:bodyPr>
          <a:lstStyle>
            <a:defPPr>
              <a:defRPr lang="en-CH"/>
            </a:defPPr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C24F66-F992-49A7-12FF-E28151740033}"/>
              </a:ext>
            </a:extLst>
          </p:cNvPr>
          <p:cNvSpPr txBox="1"/>
          <p:nvPr/>
        </p:nvSpPr>
        <p:spPr>
          <a:xfrm>
            <a:off x="685033" y="5978592"/>
            <a:ext cx="17120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F9ED5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imary HIV prevention targets</a:t>
            </a:r>
            <a:endParaRPr kumimoji="0" lang="en-CH" sz="1050" b="0" i="0" u="none" strike="noStrike" kern="1200" cap="none" spc="0" normalizeH="0" baseline="0" noProof="0" dirty="0">
              <a:ln>
                <a:noFill/>
              </a:ln>
              <a:solidFill>
                <a:srgbClr val="0F9ED5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image1.png">
            <a:extLst>
              <a:ext uri="{FF2B5EF4-FFF2-40B4-BE49-F238E27FC236}">
                <a16:creationId xmlns:a16="http://schemas.microsoft.com/office/drawing/2014/main" id="{31061036-FE60-0FA0-8D22-C3133A00A796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438" y="6389590"/>
            <a:ext cx="747017" cy="369332"/>
          </a:xfrm>
          <a:prstGeom prst="rect">
            <a:avLst/>
          </a:prstGeom>
        </p:spPr>
      </p:pic>
      <p:pic>
        <p:nvPicPr>
          <p:cNvPr id="12" name="Picture 11" descr="A black and red letter a&#10;&#10;AI-generated content may be incorrect.">
            <a:extLst>
              <a:ext uri="{FF2B5EF4-FFF2-40B4-BE49-F238E27FC236}">
                <a16:creationId xmlns:a16="http://schemas.microsoft.com/office/drawing/2014/main" id="{FA9DF484-2C19-BF4D-AC2E-479A200DDC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989" y="6542895"/>
            <a:ext cx="1152144" cy="21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776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060F5-87F0-708F-5A30-303DBC259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857674C2-B10E-399E-4E64-0ED8F0DCB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98" y="3230406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9" descr="Condom - Free healthcare and medical icons">
            <a:extLst>
              <a:ext uri="{FF2B5EF4-FFF2-40B4-BE49-F238E27FC236}">
                <a16:creationId xmlns:a16="http://schemas.microsoft.com/office/drawing/2014/main" id="{4D8F33BD-2094-3757-DE34-6B5927DD6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4554" y="2696854"/>
            <a:ext cx="628035" cy="62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5" descr="Money - Free business and finance icons">
            <a:extLst>
              <a:ext uri="{FF2B5EF4-FFF2-40B4-BE49-F238E27FC236}">
                <a16:creationId xmlns:a16="http://schemas.microsoft.com/office/drawing/2014/main" id="{BA355383-9E43-2976-99CF-FAA92F75B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6179" y="3599614"/>
            <a:ext cx="726564" cy="72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477D1F0C-8B72-71A9-8797-6A995AD1F7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722" y="3278605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Heart 4">
            <a:extLst>
              <a:ext uri="{FF2B5EF4-FFF2-40B4-BE49-F238E27FC236}">
                <a16:creationId xmlns:a16="http://schemas.microsoft.com/office/drawing/2014/main" id="{570E8BFA-0790-8DE7-D153-043A9008AE5E}"/>
              </a:ext>
            </a:extLst>
          </p:cNvPr>
          <p:cNvSpPr/>
          <p:nvPr/>
        </p:nvSpPr>
        <p:spPr>
          <a:xfrm>
            <a:off x="3411988" y="3429000"/>
            <a:ext cx="410204" cy="372424"/>
          </a:xfrm>
          <a:prstGeom prst="hear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" name="Graphic 6" descr="Medical with solid fill">
            <a:extLst>
              <a:ext uri="{FF2B5EF4-FFF2-40B4-BE49-F238E27FC236}">
                <a16:creationId xmlns:a16="http://schemas.microsoft.com/office/drawing/2014/main" id="{6160A721-C858-065C-9A2A-8F521E6EAA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5115" y="3230406"/>
            <a:ext cx="656052" cy="656052"/>
          </a:xfrm>
          <a:prstGeom prst="rect">
            <a:avLst/>
          </a:prstGeom>
        </p:spPr>
      </p:pic>
      <p:pic>
        <p:nvPicPr>
          <p:cNvPr id="9" name="Graphic 8" descr="Group success outline">
            <a:extLst>
              <a:ext uri="{FF2B5EF4-FFF2-40B4-BE49-F238E27FC236}">
                <a16:creationId xmlns:a16="http://schemas.microsoft.com/office/drawing/2014/main" id="{93D4B013-8710-D2FB-08D3-A93794AC5F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33414" y="1468824"/>
            <a:ext cx="1058941" cy="10589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355587A-C4A5-0800-389E-F94E03C1612B}"/>
              </a:ext>
            </a:extLst>
          </p:cNvPr>
          <p:cNvSpPr txBox="1"/>
          <p:nvPr/>
        </p:nvSpPr>
        <p:spPr>
          <a:xfrm>
            <a:off x="107110" y="257997"/>
            <a:ext cx="96957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E9713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+20 by 30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 line numeric milestones for reducing new HIV infections</a:t>
            </a:r>
            <a:endParaRPr kumimoji="0" lang="en-CH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A0BBC9-8AF8-5E09-88CC-946236660AD8}"/>
              </a:ext>
            </a:extLst>
          </p:cNvPr>
          <p:cNvSpPr txBox="1"/>
          <p:nvPr/>
        </p:nvSpPr>
        <p:spPr>
          <a:xfrm>
            <a:off x="8437609" y="58421"/>
            <a:ext cx="3647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ternative presentation – DO NOT CITE</a:t>
            </a:r>
            <a:endParaRPr kumimoji="0" lang="en-CH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image1.png">
            <a:extLst>
              <a:ext uri="{FF2B5EF4-FFF2-40B4-BE49-F238E27FC236}">
                <a16:creationId xmlns:a16="http://schemas.microsoft.com/office/drawing/2014/main" id="{B842DB08-AE92-7AA7-26C6-7A57F3A0D1EE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6209" y="6038890"/>
            <a:ext cx="928591" cy="45988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199CA3-2872-8002-6A4C-5CEEE7B3F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1466"/>
            <a:ext cx="10101943" cy="593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7991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687B33-F584-DF3E-B619-5164B63CB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6CD2097D-7F1B-DA6C-9627-94C0D27B4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98" y="3230406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9" descr="Condom - Free healthcare and medical icons">
            <a:extLst>
              <a:ext uri="{FF2B5EF4-FFF2-40B4-BE49-F238E27FC236}">
                <a16:creationId xmlns:a16="http://schemas.microsoft.com/office/drawing/2014/main" id="{6F5B2F3E-5E65-79F2-FC04-D6D595B36F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4554" y="2696854"/>
            <a:ext cx="628035" cy="62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5" descr="Money - Free business and finance icons">
            <a:extLst>
              <a:ext uri="{FF2B5EF4-FFF2-40B4-BE49-F238E27FC236}">
                <a16:creationId xmlns:a16="http://schemas.microsoft.com/office/drawing/2014/main" id="{FB4BB228-1A1E-03CD-9303-42DA0337F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6179" y="3599614"/>
            <a:ext cx="726564" cy="72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7" descr="Pills Blue Icon PNG Transparent Background, Free Download #6569 -  FreeIconsPNG">
            <a:extLst>
              <a:ext uri="{FF2B5EF4-FFF2-40B4-BE49-F238E27FC236}">
                <a16:creationId xmlns:a16="http://schemas.microsoft.com/office/drawing/2014/main" id="{826CA577-AB69-2C79-D9DC-8C7E39245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722" y="3278605"/>
            <a:ext cx="522819" cy="52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Heart 4">
            <a:extLst>
              <a:ext uri="{FF2B5EF4-FFF2-40B4-BE49-F238E27FC236}">
                <a16:creationId xmlns:a16="http://schemas.microsoft.com/office/drawing/2014/main" id="{ADE1D0A1-0E69-A858-8B03-9A156699B9DF}"/>
              </a:ext>
            </a:extLst>
          </p:cNvPr>
          <p:cNvSpPr/>
          <p:nvPr/>
        </p:nvSpPr>
        <p:spPr>
          <a:xfrm>
            <a:off x="3411988" y="3429000"/>
            <a:ext cx="410204" cy="372424"/>
          </a:xfrm>
          <a:prstGeom prst="hear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" name="Graphic 6" descr="Medical with solid fill">
            <a:extLst>
              <a:ext uri="{FF2B5EF4-FFF2-40B4-BE49-F238E27FC236}">
                <a16:creationId xmlns:a16="http://schemas.microsoft.com/office/drawing/2014/main" id="{784888F7-BA23-51CE-92D5-2BDA653D38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5115" y="3230406"/>
            <a:ext cx="656052" cy="656052"/>
          </a:xfrm>
          <a:prstGeom prst="rect">
            <a:avLst/>
          </a:prstGeom>
        </p:spPr>
      </p:pic>
      <p:pic>
        <p:nvPicPr>
          <p:cNvPr id="9" name="Graphic 8" descr="Group success outline">
            <a:extLst>
              <a:ext uri="{FF2B5EF4-FFF2-40B4-BE49-F238E27FC236}">
                <a16:creationId xmlns:a16="http://schemas.microsoft.com/office/drawing/2014/main" id="{1D7E4C53-E605-B8F9-8C8A-30A3139002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33414" y="1468824"/>
            <a:ext cx="1058941" cy="10589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2C27753-706D-866E-466A-F1EFE0F998C8}"/>
              </a:ext>
            </a:extLst>
          </p:cNvPr>
          <p:cNvSpPr txBox="1"/>
          <p:nvPr/>
        </p:nvSpPr>
        <p:spPr>
          <a:xfrm>
            <a:off x="44905" y="363633"/>
            <a:ext cx="115813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9713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key innovation will be country-owned needs estimates &amp; milestones based on granular data: Illustrative country example</a:t>
            </a:r>
            <a:endParaRPr kumimoji="0" lang="en-CH" sz="1200" b="1" i="0" u="none" strike="noStrike" kern="1200" cap="none" spc="0" normalizeH="0" baseline="0" noProof="0" dirty="0">
              <a:ln>
                <a:noFill/>
              </a:ln>
              <a:solidFill>
                <a:srgbClr val="15608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D68B94-D9D1-E553-D615-A7DD2CC65079}"/>
              </a:ext>
            </a:extLst>
          </p:cNvPr>
          <p:cNvSpPr txBox="1"/>
          <p:nvPr/>
        </p:nvSpPr>
        <p:spPr>
          <a:xfrm>
            <a:off x="8437609" y="58421"/>
            <a:ext cx="3647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ternative presentation – DO NOT CITE</a:t>
            </a:r>
            <a:endParaRPr kumimoji="0" lang="en-CH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EE85F19-1C38-6115-78E6-49B6DF254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635580"/>
              </p:ext>
            </p:extLst>
          </p:nvPr>
        </p:nvGraphicFramePr>
        <p:xfrm>
          <a:off x="107110" y="1034880"/>
          <a:ext cx="12039985" cy="5749602"/>
        </p:xfrm>
        <a:graphic>
          <a:graphicData uri="http://schemas.openxmlformats.org/drawingml/2006/table">
            <a:tbl>
              <a:tblPr firstRow="1" firstCol="1" bandRow="1"/>
              <a:tblGrid>
                <a:gridCol w="2207827">
                  <a:extLst>
                    <a:ext uri="{9D8B030D-6E8A-4147-A177-3AD203B41FA5}">
                      <a16:colId xmlns:a16="http://schemas.microsoft.com/office/drawing/2014/main" val="3961624263"/>
                    </a:ext>
                  </a:extLst>
                </a:gridCol>
                <a:gridCol w="353028">
                  <a:extLst>
                    <a:ext uri="{9D8B030D-6E8A-4147-A177-3AD203B41FA5}">
                      <a16:colId xmlns:a16="http://schemas.microsoft.com/office/drawing/2014/main" val="3433435054"/>
                    </a:ext>
                  </a:extLst>
                </a:gridCol>
                <a:gridCol w="1237721">
                  <a:extLst>
                    <a:ext uri="{9D8B030D-6E8A-4147-A177-3AD203B41FA5}">
                      <a16:colId xmlns:a16="http://schemas.microsoft.com/office/drawing/2014/main" val="3077676287"/>
                    </a:ext>
                  </a:extLst>
                </a:gridCol>
                <a:gridCol w="1042491">
                  <a:extLst>
                    <a:ext uri="{9D8B030D-6E8A-4147-A177-3AD203B41FA5}">
                      <a16:colId xmlns:a16="http://schemas.microsoft.com/office/drawing/2014/main" val="3501709460"/>
                    </a:ext>
                  </a:extLst>
                </a:gridCol>
                <a:gridCol w="272005">
                  <a:extLst>
                    <a:ext uri="{9D8B030D-6E8A-4147-A177-3AD203B41FA5}">
                      <a16:colId xmlns:a16="http://schemas.microsoft.com/office/drawing/2014/main" val="620117696"/>
                    </a:ext>
                  </a:extLst>
                </a:gridCol>
                <a:gridCol w="1111170">
                  <a:extLst>
                    <a:ext uri="{9D8B030D-6E8A-4147-A177-3AD203B41FA5}">
                      <a16:colId xmlns:a16="http://schemas.microsoft.com/office/drawing/2014/main" val="319427415"/>
                    </a:ext>
                  </a:extLst>
                </a:gridCol>
                <a:gridCol w="1134319">
                  <a:extLst>
                    <a:ext uri="{9D8B030D-6E8A-4147-A177-3AD203B41FA5}">
                      <a16:colId xmlns:a16="http://schemas.microsoft.com/office/drawing/2014/main" val="568267659"/>
                    </a:ext>
                  </a:extLst>
                </a:gridCol>
                <a:gridCol w="380510">
                  <a:extLst>
                    <a:ext uri="{9D8B030D-6E8A-4147-A177-3AD203B41FA5}">
                      <a16:colId xmlns:a16="http://schemas.microsoft.com/office/drawing/2014/main" val="2170087534"/>
                    </a:ext>
                  </a:extLst>
                </a:gridCol>
                <a:gridCol w="1990734">
                  <a:extLst>
                    <a:ext uri="{9D8B030D-6E8A-4147-A177-3AD203B41FA5}">
                      <a16:colId xmlns:a16="http://schemas.microsoft.com/office/drawing/2014/main" val="772584331"/>
                    </a:ext>
                  </a:extLst>
                </a:gridCol>
                <a:gridCol w="401262">
                  <a:extLst>
                    <a:ext uri="{9D8B030D-6E8A-4147-A177-3AD203B41FA5}">
                      <a16:colId xmlns:a16="http://schemas.microsoft.com/office/drawing/2014/main" val="2161561249"/>
                    </a:ext>
                  </a:extLst>
                </a:gridCol>
                <a:gridCol w="1908918">
                  <a:extLst>
                    <a:ext uri="{9D8B030D-6E8A-4147-A177-3AD203B41FA5}">
                      <a16:colId xmlns:a16="http://schemas.microsoft.com/office/drawing/2014/main" val="1254909857"/>
                    </a:ext>
                  </a:extLst>
                </a:gridCol>
              </a:tblGrid>
              <a:tr h="17446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8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</a:t>
                      </a:r>
                      <a:endParaRPr kumimoji="0" lang="en-CH" sz="36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 </a:t>
                      </a:r>
                      <a:r>
                        <a:rPr kumimoji="0" lang="en-GB" sz="24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MILLION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1" kern="10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0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0</a:t>
                      </a:r>
                      <a:endParaRPr lang="en-CH" sz="3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GB" sz="16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r>
                        <a:rPr lang="en-GB" sz="2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HOUSAND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 kern="10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88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5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GB" sz="16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r>
                        <a:rPr lang="en-GB" sz="2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ILLION</a:t>
                      </a:r>
                      <a:endParaRPr lang="en-CH" dirty="0"/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dirty="0"/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 kern="10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5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</a:rPr>
                        <a:t>&gt;</a:t>
                      </a:r>
                      <a:r>
                        <a:rPr lang="en-US" sz="88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</a:rPr>
                        <a:t>20</a:t>
                      </a:r>
                      <a:r>
                        <a:rPr lang="en-US" sz="2400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ERCENT</a:t>
                      </a:r>
                      <a:endParaRPr lang="en-CH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945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14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buNone/>
                      </a:pPr>
                      <a:r>
                        <a:rPr lang="en-GB" sz="2000" b="1" kern="0" dirty="0">
                          <a:solidFill>
                            <a:srgbClr val="1F6993"/>
                          </a:solidFill>
                          <a:effectLst/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=</a:t>
                      </a:r>
                    </a:p>
                    <a:p>
                      <a:pPr algn="ctr">
                        <a:buNone/>
                      </a:pPr>
                      <a:r>
                        <a:rPr lang="en-GB" sz="1100" b="1" kern="100" dirty="0">
                          <a:solidFill>
                            <a:srgbClr val="C7945B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buNone/>
                      </a:pPr>
                      <a:r>
                        <a:rPr lang="en-US" sz="5400" b="1" kern="100" dirty="0">
                          <a:solidFill>
                            <a:srgbClr val="FFFFFF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0% </a:t>
                      </a:r>
                      <a:endParaRPr lang="en-CH" sz="1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buNone/>
                      </a:pPr>
                      <a:r>
                        <a:rPr lang="en-US" sz="16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of people in need use prevention options</a:t>
                      </a:r>
                      <a:endParaRPr lang="en-CH" sz="1200" kern="1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142424"/>
                  </a:ext>
                </a:extLst>
              </a:tr>
              <a:tr h="1624464">
                <a:tc>
                  <a:txBody>
                    <a:bodyPr/>
                    <a:lstStyle/>
                    <a:p>
                      <a:pPr algn="ctr"/>
                      <a:r>
                        <a:rPr kumimoji="0" lang="en-US" sz="1800" b="1" i="0" u="none" strike="noStrike" kern="1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People living with HIV accessing treatment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20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People using </a:t>
                      </a:r>
                      <a:r>
                        <a:rPr kumimoji="0" lang="en-US" sz="2000" b="1" i="0" u="none" strike="noStrike" kern="1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PrEP</a:t>
                      </a:r>
                      <a:r>
                        <a:rPr kumimoji="0" lang="en-US" sz="20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options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Condoms 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6A9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 domestic HIV </a:t>
                      </a:r>
                      <a:b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ing goes to</a:t>
                      </a:r>
                      <a:b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vention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945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0%</a:t>
                      </a:r>
                      <a:r>
                        <a:rPr kumimoji="0" lang="en-US" sz="48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kumimoji="0" lang="en-US" sz="3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of people living with HIV virally suppressed</a:t>
                      </a:r>
                      <a:endParaRPr lang="en-CH" sz="1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buNone/>
                      </a:pPr>
                      <a:r>
                        <a:rPr lang="en-US" sz="11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48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315387"/>
                  </a:ext>
                </a:extLst>
              </a:tr>
              <a:tr h="944714">
                <a:tc rowSpan="2"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And this could be translated into district targets as well</a:t>
                      </a:r>
                      <a:endParaRPr lang="en-CH" b="1" dirty="0">
                        <a:solidFill>
                          <a:schemeClr val="accent2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8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600" b="1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1.3</a:t>
                      </a:r>
                      <a:r>
                        <a:rPr lang="en-US" sz="2000" b="1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r>
                        <a:rPr lang="en-US" sz="1500" kern="1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MILLION</a:t>
                      </a:r>
                      <a:endParaRPr lang="en-CH" sz="15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Women &amp; girls, boys &amp; men in locations with high HIV</a:t>
                      </a:r>
                      <a:endParaRPr lang="en-CH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r>
                        <a:rPr kumimoji="0" lang="en-GB" sz="18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Reached with combination prevention</a:t>
                      </a:r>
                      <a:br>
                        <a:rPr kumimoji="0" lang="en-GB" sz="20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kumimoji="0" lang="en-GB" sz="105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Highly focused </a:t>
                      </a:r>
                      <a:r>
                        <a:rPr kumimoji="0" lang="en-GB" sz="1050" b="0" i="0" u="none" strike="noStrike" kern="1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behavioral</a:t>
                      </a:r>
                      <a:r>
                        <a:rPr kumimoji="0" lang="en-GB" sz="105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, biomedical and structural elements with additional population-specific sub-targets for an optimized mix of interventions and access platforms</a:t>
                      </a:r>
                      <a:endParaRPr lang="en-CH" dirty="0"/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54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+mn-cs"/>
                        </a:rPr>
                        <a:t>90%</a:t>
                      </a:r>
                      <a: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b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reduction in new HIV infections</a:t>
                      </a:r>
                      <a:endParaRPr kumimoji="0" lang="en-US" sz="1800" b="1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from 2010 to 2030</a:t>
                      </a:r>
                      <a:r>
                        <a:rPr lang="en-US" sz="5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sz="4400" dirty="0"/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B1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28149"/>
                  </a:ext>
                </a:extLst>
              </a:tr>
              <a:tr h="851398">
                <a:tc v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20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80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600" b="1" kern="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80</a:t>
                      </a:r>
                      <a:r>
                        <a:rPr lang="en-US" sz="2000" b="1" kern="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r>
                        <a:rPr lang="en-US" sz="1500" b="0" kern="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THOUSAND</a:t>
                      </a:r>
                      <a:endParaRPr lang="en-CH" sz="1500" b="0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Key populations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bg1"/>
                          </a:solidFill>
                        </a:rPr>
                        <a:t>(with 9 500 using harm reduction)</a:t>
                      </a:r>
                      <a:endParaRPr lang="en-CH" sz="1200" b="0" dirty="0">
                        <a:solidFill>
                          <a:schemeClr val="bg1"/>
                        </a:solidFill>
                      </a:endParaRPr>
                    </a:p>
                    <a:p>
                      <a:pPr algn="ctr">
                        <a:buNone/>
                      </a:pPr>
                      <a:endParaRPr lang="en-CH" sz="1200" b="1" kern="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100" b="1" kern="100" dirty="0">
                        <a:solidFill>
                          <a:srgbClr val="206A93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92A1"/>
                    </a:solidFill>
                  </a:tcPr>
                </a:tc>
                <a:tc gridSpan="3" v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54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+mn-cs"/>
                        </a:rPr>
                        <a:t>90%</a:t>
                      </a:r>
                      <a: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br>
                        <a:rPr kumimoji="0" lang="en-US" sz="54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</a:b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reduction in new HIV infections</a:t>
                      </a:r>
                      <a:endParaRPr kumimoji="0" lang="en-US" sz="1800" b="1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from 2010 to 2030</a:t>
                      </a:r>
                      <a:r>
                        <a:rPr lang="en-US" sz="500" b="1" kern="1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CH" dirty="0"/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B1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441580"/>
                  </a:ext>
                </a:extLst>
              </a:tr>
              <a:tr h="934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877110"/>
                  </a:ext>
                </a:extLst>
              </a:tr>
              <a:tr h="4909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ribution of other HIV response targets, enablers and systems</a:t>
                      </a:r>
                      <a:endParaRPr lang="en-CH" sz="1800" kern="1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2000" kern="1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0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H" sz="18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CH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94815"/>
                  </a:ext>
                </a:extLst>
              </a:tr>
            </a:tbl>
          </a:graphicData>
        </a:graphic>
      </p:graphicFrame>
      <p:pic>
        <p:nvPicPr>
          <p:cNvPr id="8" name="image1.png">
            <a:extLst>
              <a:ext uri="{FF2B5EF4-FFF2-40B4-BE49-F238E27FC236}">
                <a16:creationId xmlns:a16="http://schemas.microsoft.com/office/drawing/2014/main" id="{BCE2B5C8-759F-286E-D57F-41FFD397286C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495" y="73519"/>
            <a:ext cx="747017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814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Fra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4.xml><?xml version="1.0" encoding="utf-8"?>
<a:theme xmlns:a="http://schemas.openxmlformats.org/drawingml/2006/main" name="5_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BMGF Layouts">
  <a:themeElements>
    <a:clrScheme name="Custom 4">
      <a:dk1>
        <a:srgbClr val="000000"/>
      </a:dk1>
      <a:lt1>
        <a:srgbClr val="F5F3ED"/>
      </a:lt1>
      <a:dk2>
        <a:srgbClr val="E7C700"/>
      </a:dk2>
      <a:lt2>
        <a:srgbClr val="FFFFFF"/>
      </a:lt2>
      <a:accent1>
        <a:srgbClr val="F85C02"/>
      </a:accent1>
      <a:accent2>
        <a:srgbClr val="D93027"/>
      </a:accent2>
      <a:accent3>
        <a:srgbClr val="D83397"/>
      </a:accent3>
      <a:accent4>
        <a:srgbClr val="248AF9"/>
      </a:accent4>
      <a:accent5>
        <a:srgbClr val="3AC9B1"/>
      </a:accent5>
      <a:accent6>
        <a:srgbClr val="303A44"/>
      </a:accent6>
      <a:hlink>
        <a:srgbClr val="303A44"/>
      </a:hlink>
      <a:folHlink>
        <a:srgbClr val="EBCB00"/>
      </a:folHlink>
    </a:clrScheme>
    <a:fontScheme name="Custom 4">
      <a:majorFont>
        <a:latin typeface="Cambr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t"/>
      <a:lstStyle>
        <a:defPPr algn="l">
          <a:spcAft>
            <a:spcPts val="600"/>
          </a:spcAft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200" dirty="0" smtClean="0">
            <a:solidFill>
              <a:schemeClr val="accent6"/>
            </a:solidFill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ATES FOUNDATION OVERVIEW PPT AND TEMPLATE_250114" id="{3E293F38-4B1D-F34D-B510-2DE2329046D2}" vid="{16A75C1A-621F-254D-92DC-2B4281D0D1CD}"/>
    </a:ext>
  </a:extLst>
</a:theme>
</file>

<file path=ppt/theme/theme6.xml><?xml version="1.0" encoding="utf-8"?>
<a:theme xmlns:a="http://schemas.openxmlformats.org/drawingml/2006/main" name="3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c2e1cf9b-e1b6-44eb-8021-428c292d3eb5}" enabled="0" method="" siteId="{c2e1cf9b-e1b6-44eb-8021-428c292d3eb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5553</TotalTime>
  <Words>2368</Words>
  <Application>Microsoft Office PowerPoint</Application>
  <PresentationFormat>Widescreen</PresentationFormat>
  <Paragraphs>513</Paragraphs>
  <Slides>2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51" baseType="lpstr">
      <vt:lpstr>Agency FB</vt:lpstr>
      <vt:lpstr>Aptos</vt:lpstr>
      <vt:lpstr>Aptos Display</vt:lpstr>
      <vt:lpstr>Arial</vt:lpstr>
      <vt:lpstr>Arial Black</vt:lpstr>
      <vt:lpstr>Arial Nova Cond</vt:lpstr>
      <vt:lpstr>Calibri</vt:lpstr>
      <vt:lpstr>Calibri Light</vt:lpstr>
      <vt:lpstr>Cambria</vt:lpstr>
      <vt:lpstr>Corbel</vt:lpstr>
      <vt:lpstr>Courier New</vt:lpstr>
      <vt:lpstr>Georgia</vt:lpstr>
      <vt:lpstr>Roboto</vt:lpstr>
      <vt:lpstr>Roboto Light</vt:lpstr>
      <vt:lpstr>Roboto Medium</vt:lpstr>
      <vt:lpstr>System Font Regular</vt:lpstr>
      <vt:lpstr>Times New Roman</vt:lpstr>
      <vt:lpstr>Wingdings</vt:lpstr>
      <vt:lpstr>Wingdings 2</vt:lpstr>
      <vt:lpstr>Office Theme</vt:lpstr>
      <vt:lpstr>1_Office Theme</vt:lpstr>
      <vt:lpstr>Frame</vt:lpstr>
      <vt:lpstr>5_Custom Design</vt:lpstr>
      <vt:lpstr>1_BMGF Layouts</vt:lpstr>
      <vt:lpstr>3_Office Theme</vt:lpstr>
      <vt:lpstr>2_Office Theme</vt:lpstr>
      <vt:lpstr>think-cell Slide</vt:lpstr>
      <vt:lpstr>HIV Prevention 2030.  A Global Access Framework for Country-Led Responses</vt:lpstr>
      <vt:lpstr>Without sustained and accelerated primary prevention, 2030 targets will be out of reach and gains lost</vt:lpstr>
      <vt:lpstr>Progress made in the Africa region through a combination of treatment and primary prevention </vt:lpstr>
      <vt:lpstr>Global AIDS Strategy  2026-2031 </vt:lpstr>
      <vt:lpstr>Bold Vision</vt:lpstr>
      <vt:lpstr>Reality of a Funding Crisis</vt:lpstr>
      <vt:lpstr>PowerPoint Presentation</vt:lpstr>
      <vt:lpstr>PowerPoint Presentation</vt:lpstr>
      <vt:lpstr>PowerPoint Presentation</vt:lpstr>
      <vt:lpstr>PowerPoint Presentation</vt:lpstr>
      <vt:lpstr>Strategic shifts in the new framing of prevention</vt:lpstr>
      <vt:lpstr>A person- centred prevention framework</vt:lpstr>
      <vt:lpstr>Scaled trusted access platforms</vt:lpstr>
      <vt:lpstr>PowerPoint Presentation</vt:lpstr>
      <vt:lpstr>PowerPoint Presentation</vt:lpstr>
      <vt:lpstr>Scalable and sustainable prevention to 2030 and beyond. 5 Ps of prioritization The right people, right places, packages, best platforms, prices</vt:lpstr>
      <vt:lpstr>Rationale for prevention targets – and how they relate to HIV incidence</vt:lpstr>
      <vt:lpstr>A new financing context </vt:lpstr>
      <vt:lpstr>2030 PrEP targets in LMICs by income level</vt:lpstr>
      <vt:lpstr>2030 Condom targets</vt:lpstr>
      <vt:lpstr>From needs estimates to delivery and financing (illustrative country table)</vt:lpstr>
      <vt:lpstr>Key milestones of a roll-out plan for 2030</vt:lpstr>
      <vt:lpstr>Call to action: A new era of prevention</vt:lpstr>
      <vt:lpstr>Thank you, Merci, Obrigad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YARUHANGA, Buyinza Gloria</dc:creator>
  <cp:lastModifiedBy>BENEDIKT, Clemens</cp:lastModifiedBy>
  <cp:revision>15</cp:revision>
  <dcterms:created xsi:type="dcterms:W3CDTF">2025-04-09T10:49:50Z</dcterms:created>
  <dcterms:modified xsi:type="dcterms:W3CDTF">2026-03-31T11:00:38Z</dcterms:modified>
</cp:coreProperties>
</file>